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3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33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tags/tag332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33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33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7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8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9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20.xml" ContentType="application/vnd.openxmlformats-officedocument.theme+xml"/>
  <Override PartName="/ppt/tags/tag403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21.xml" ContentType="application/vnd.openxmlformats-officedocument.theme+xml"/>
  <Override PartName="/ppt/tags/tag404.xml" ContentType="application/vnd.openxmlformats-officedocument.presentationml.tags+xml"/>
  <Override PartName="/ppt/theme/theme22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notesSlides/notesSlide2.xml" ContentType="application/vnd.openxmlformats-officedocument.presentationml.notesSlid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notesSlides/notesSlide3.xml" ContentType="application/vnd.openxmlformats-officedocument.presentationml.notesSlide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notesSlides/notesSlide4.xml" ContentType="application/vnd.openxmlformats-officedocument.presentationml.notesSlide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8" r:id="rId2"/>
    <p:sldMasterId id="2147483676" r:id="rId3"/>
    <p:sldMasterId id="2147483701" r:id="rId4"/>
    <p:sldMasterId id="2147483738" r:id="rId5"/>
    <p:sldMasterId id="2147483785" r:id="rId6"/>
    <p:sldMasterId id="2147483789" r:id="rId7"/>
    <p:sldMasterId id="2147483803" r:id="rId8"/>
    <p:sldMasterId id="2147483809" r:id="rId9"/>
    <p:sldMasterId id="2147483828" r:id="rId10"/>
    <p:sldMasterId id="2147483850" r:id="rId11"/>
    <p:sldMasterId id="2147483866" r:id="rId12"/>
    <p:sldMasterId id="2147483870" r:id="rId13"/>
    <p:sldMasterId id="2147483885" r:id="rId14"/>
    <p:sldMasterId id="2147483892" r:id="rId15"/>
    <p:sldMasterId id="2147483899" r:id="rId16"/>
    <p:sldMasterId id="2147483906" r:id="rId17"/>
    <p:sldMasterId id="2147483913" r:id="rId18"/>
    <p:sldMasterId id="2147483925" r:id="rId19"/>
    <p:sldMasterId id="2147483934" r:id="rId20"/>
    <p:sldMasterId id="2147483939" r:id="rId21"/>
  </p:sldMasterIdLst>
  <p:notesMasterIdLst>
    <p:notesMasterId r:id="rId28"/>
  </p:notesMasterIdLst>
  <p:sldIdLst>
    <p:sldId id="1362" r:id="rId22"/>
    <p:sldId id="1358" r:id="rId23"/>
    <p:sldId id="1359" r:id="rId24"/>
    <p:sldId id="1360" r:id="rId25"/>
    <p:sldId id="1355" r:id="rId26"/>
    <p:sldId id="1361" r:id="rId27"/>
  </p:sldIdLst>
  <p:sldSz cx="10287000" cy="6858000" type="35mm"/>
  <p:notesSz cx="7010400" cy="9296400"/>
  <p:custDataLst>
    <p:tags r:id="rId2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3" userDrawn="1">
          <p15:clr>
            <a:srgbClr val="A4A3A4"/>
          </p15:clr>
        </p15:guide>
        <p15:guide id="2" pos="473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4419" userDrawn="1">
          <p15:clr>
            <a:srgbClr val="A4A3A4"/>
          </p15:clr>
        </p15:guide>
        <p15:guide id="6" pos="4442" userDrawn="1">
          <p15:clr>
            <a:srgbClr val="A4A3A4"/>
          </p15:clr>
        </p15:guide>
        <p15:guide id="7" pos="224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pos="79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277"/>
    <a:srgbClr val="000000"/>
    <a:srgbClr val="FFE7E7"/>
    <a:srgbClr val="EBECED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97" autoAdjust="0"/>
    <p:restoredTop sz="89286" autoAdjust="0"/>
  </p:normalViewPr>
  <p:slideViewPr>
    <p:cSldViewPr snapToGrid="0" showGuides="1">
      <p:cViewPr>
        <p:scale>
          <a:sx n="110" d="100"/>
          <a:sy n="110" d="100"/>
        </p:scale>
        <p:origin x="174" y="-72"/>
      </p:cViewPr>
      <p:guideLst>
        <p:guide orient="horz" pos="73"/>
        <p:guide orient="horz" pos="3974"/>
        <p:guide orient="horz" pos="958"/>
        <p:guide pos="473"/>
        <p:guide pos="4419"/>
        <p:guide pos="4442"/>
        <p:guide pos="224"/>
        <p:guide pos="791"/>
      </p:guideLst>
    </p:cSldViewPr>
  </p:slideViewPr>
  <p:outlineViewPr>
    <p:cViewPr>
      <p:scale>
        <a:sx n="33" d="100"/>
        <a:sy n="33" d="100"/>
      </p:scale>
      <p:origin x="0" y="-22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860"/>
    </p:cViewPr>
  </p:sorterViewPr>
  <p:notesViewPr>
    <p:cSldViewPr snapToGrid="0">
      <p:cViewPr varScale="1">
        <p:scale>
          <a:sx n="48" d="100"/>
          <a:sy n="48" d="100"/>
        </p:scale>
        <p:origin x="-291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/>
          <a:lstStyle>
            <a:lvl1pPr algn="r">
              <a:defRPr sz="1200"/>
            </a:lvl1pPr>
          </a:lstStyle>
          <a:p>
            <a:fld id="{4BFEA9E9-6050-4733-B1E7-CDF217955658}" type="datetimeFigureOut">
              <a:rPr lang="en-US" smtClean="0"/>
              <a:t>7/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890588" y="696913"/>
            <a:ext cx="52292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9" rIns="93155" bIns="46579" rtlCol="0" anchor="ctr"/>
          <a:lstStyle/>
          <a:p>
            <a:endParaRPr lang="es-E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55" tIns="46579" rIns="93155" bIns="4657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55" tIns="46579" rIns="93155" bIns="46579" rtlCol="0" anchor="b"/>
          <a:lstStyle>
            <a:lvl1pPr algn="r">
              <a:defRPr sz="1200"/>
            </a:lvl1pPr>
          </a:lstStyle>
          <a:p>
            <a:fld id="{3EB2AE19-CD09-44ED-85EF-CCA023F166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25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B2AE19-CD09-44ED-85EF-CCA023F166E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79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wmf"/><Relationship Id="rId2" Type="http://schemas.openxmlformats.org/officeDocument/2006/relationships/tags" Target="../tags/tag35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5.wmf"/><Relationship Id="rId2" Type="http://schemas.openxmlformats.org/officeDocument/2006/relationships/tags" Target="../tags/tag3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5.wmf"/><Relationship Id="rId2" Type="http://schemas.openxmlformats.org/officeDocument/2006/relationships/tags" Target="../tags/tag38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.wmf"/><Relationship Id="rId2" Type="http://schemas.openxmlformats.org/officeDocument/2006/relationships/tags" Target="../tags/tag4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15.pn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94.xml"/><Relationship Id="rId4" Type="http://schemas.openxmlformats.org/officeDocument/2006/relationships/tags" Target="../tags/tag19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4" Type="http://schemas.openxmlformats.org/officeDocument/2006/relationships/tags" Target="../tags/tag2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4" Type="http://schemas.openxmlformats.org/officeDocument/2006/relationships/tags" Target="../tags/tag25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5" Type="http://schemas.openxmlformats.org/officeDocument/2006/relationships/tags" Target="../tags/tag275.xml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3.xml"/><Relationship Id="rId4" Type="http://schemas.openxmlformats.org/officeDocument/2006/relationships/tags" Target="../tags/tag28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8.xml"/><Relationship Id="rId4" Type="http://schemas.openxmlformats.org/officeDocument/2006/relationships/tags" Target="../tags/tag28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3.xml"/><Relationship Id="rId4" Type="http://schemas.openxmlformats.org/officeDocument/2006/relationships/tags" Target="../tags/tag2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8.xml"/><Relationship Id="rId4" Type="http://schemas.openxmlformats.org/officeDocument/2006/relationships/tags" Target="../tags/tag29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3.xml"/><Relationship Id="rId4" Type="http://schemas.openxmlformats.org/officeDocument/2006/relationships/tags" Target="../tags/tag30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4" Type="http://schemas.openxmlformats.org/officeDocument/2006/relationships/tags" Target="../tags/tag3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46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67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01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72653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6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22489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196564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07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8"/>
            <a:ext cx="57507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07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2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4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4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4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4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7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3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457701" y="104746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68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8638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166498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84675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2" y="1930404"/>
            <a:ext cx="416819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gray">
          <a:xfrm>
            <a:off x="9144195" y="6477102"/>
            <a:ext cx="642831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9144195" y="6476022"/>
            <a:ext cx="64283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/>
            <a:fld id="{2306E996-13B1-4F09-8F6B-3AC86B81501F}" type="slidenum">
              <a:rPr lang="en-GB" sz="1100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en-GB" sz="11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Copyright"/>
          <p:cNvSpPr txBox="1">
            <a:spLocks noChangeArrowheads="1"/>
          </p:cNvSpPr>
          <p:nvPr userDrawn="1"/>
        </p:nvSpPr>
        <p:spPr bwMode="gray">
          <a:xfrm>
            <a:off x="493193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700" dirty="0" smtClean="0">
                <a:solidFill>
                  <a:srgbClr val="FFFFFF"/>
                </a:solidFill>
                <a:cs typeface="Arial" charset="0"/>
              </a:rPr>
              <a:t>© Oliver Wyman </a:t>
            </a:r>
            <a:endParaRPr lang="en-GB" sz="7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smtClean="0"/>
              <a:pPr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9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5847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821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18584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4838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4006790"/>
            <a:ext cx="8743950" cy="40011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43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43143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79097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343878"/>
            <a:ext cx="4545212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343878"/>
            <a:ext cx="4546997" cy="8309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212365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81263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4003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508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27761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7840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584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9793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4172" y="1600201"/>
            <a:ext cx="286847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561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10590" y="274639"/>
            <a:ext cx="237603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8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0313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184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22837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2824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27761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99886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8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1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06352" indent="0" algn="ctr">
              <a:buNone/>
              <a:defRPr/>
            </a:lvl2pPr>
            <a:lvl3pPr marL="812704" indent="0" algn="ctr">
              <a:buNone/>
              <a:defRPr/>
            </a:lvl3pPr>
            <a:lvl4pPr marL="1219055" indent="0" algn="ctr">
              <a:buNone/>
              <a:defRPr/>
            </a:lvl4pPr>
            <a:lvl5pPr marL="1625407" indent="0" algn="ctr">
              <a:buNone/>
              <a:defRPr/>
            </a:lvl5pPr>
            <a:lvl6pPr marL="2031759" indent="0" algn="ctr">
              <a:buNone/>
              <a:defRPr/>
            </a:lvl6pPr>
            <a:lvl7pPr marL="2438111" indent="0" algn="ctr">
              <a:buNone/>
              <a:defRPr/>
            </a:lvl7pPr>
            <a:lvl8pPr marL="2844462" indent="0" algn="ctr">
              <a:buNone/>
              <a:defRPr/>
            </a:lvl8pPr>
            <a:lvl9pPr marL="325081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4637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7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263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2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473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484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6901"/>
            <a:ext cx="874395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6355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46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06718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4350" y="1535113"/>
            <a:ext cx="4545212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350" y="2174875"/>
            <a:ext cx="4545212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25654" y="1535113"/>
            <a:ext cx="454699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25654" y="2174875"/>
            <a:ext cx="454699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6750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6367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539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273050"/>
            <a:ext cx="3384352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1" y="273051"/>
            <a:ext cx="575071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351" y="1435101"/>
            <a:ext cx="3384352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323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24" y="4800600"/>
            <a:ext cx="6172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24" y="612775"/>
            <a:ext cx="6172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24" y="5367338"/>
            <a:ext cx="6172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2781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1600201"/>
            <a:ext cx="92583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7652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58075" y="274639"/>
            <a:ext cx="2314575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274639"/>
            <a:ext cx="677227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4857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229225" y="1600200"/>
            <a:ext cx="4543425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229225" y="3938589"/>
            <a:ext cx="4543425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8864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14350" y="274639"/>
            <a:ext cx="92583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0493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92583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14350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600201"/>
            <a:ext cx="454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914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8475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78945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7042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9349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107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6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38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2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8694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256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14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85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65661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954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1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0407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0313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54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117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72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1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4" y="1622"/>
          <a:ext cx="1821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4" y="1622"/>
                        <a:ext cx="1821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7" descr="fondo0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16" name="Picture 8" descr="Logo_Peq0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91677" y="4782369"/>
            <a:ext cx="5665596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678" y="2127636"/>
            <a:ext cx="7533267" cy="50783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678" y="3596314"/>
            <a:ext cx="7533267" cy="219820"/>
          </a:xfrm>
        </p:spPr>
        <p:txBody>
          <a:bodyPr wrap="square">
            <a:spAutoFit/>
          </a:bodyPr>
          <a:lstStyle>
            <a:lvl1pPr algn="l"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088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451190"/>
            <a:ext cx="940317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821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73964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951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47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15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0133927" y="6519666"/>
            <a:ext cx="153075" cy="72657"/>
          </a:xfrm>
          <a:prstGeom prst="rect">
            <a:avLst/>
          </a:prstGeom>
        </p:spPr>
        <p:txBody>
          <a:bodyPr/>
          <a:lstStyle>
            <a:lvl1pPr>
              <a:defRPr sz="204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AB0911-F300-47FF-9B7F-585CA3853659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9613703" y="6435725"/>
            <a:ext cx="23485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37C09F-CDC2-4469-A42E-E6D5317111E8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4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31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6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4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6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7129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8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024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70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9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656" y="2468628"/>
            <a:ext cx="874395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361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009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18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8625" y="270012"/>
            <a:ext cx="9446112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12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55979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288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  <a:prstGeom prst="rect">
            <a:avLst/>
          </a:prstGeo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i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  <a:prstGeom prst="rect">
            <a:avLst/>
          </a:prstGeo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  <a:prstGeom prst="rect">
            <a:avLst/>
          </a:prstGeo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3393"/>
      </p:ext>
    </p:extLst>
  </p:cSld>
  <p:clrMapOvr>
    <a:masterClrMapping/>
  </p:clrMapOvr>
  <p:transition spd="slow">
    <p:wip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 cstate="print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7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28625" y="270012"/>
            <a:ext cx="478631" cy="42976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930058" y="281086"/>
            <a:ext cx="0" cy="41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5974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6" y="6345241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6" descr="SOV_lineartRev"/>
          <p:cNvPicPr>
            <a:picLocks noChangeAspect="1" noChangeArrowheads="1"/>
          </p:cNvPicPr>
          <p:nvPr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157916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03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6"/>
          <p:cNvSpPr txBox="1">
            <a:spLocks noGrp="1" noChangeArrowheads="1"/>
          </p:cNvSpPr>
          <p:nvPr/>
        </p:nvSpPr>
        <p:spPr bwMode="auto">
          <a:xfrm>
            <a:off x="9843468" y="53008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059C39-E9F4-4992-A9EA-5A58DF5A1ABA}" type="slidenum">
              <a:rPr lang="en-US" sz="1400" i="1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i="1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482" y="270012"/>
            <a:ext cx="8898255" cy="429768"/>
          </a:xfrm>
          <a:prstGeom prst="rect">
            <a:avLst/>
          </a:prstGeom>
          <a:noFill/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" y="838200"/>
            <a:ext cx="9429750" cy="5029200"/>
          </a:xfrm>
          <a:prstGeom prst="rect">
            <a:avLst/>
          </a:prstGeom>
        </p:spPr>
        <p:txBody>
          <a:bodyPr/>
          <a:lstStyle>
            <a:lvl1pPr marL="341313" indent="-341313">
              <a:buFont typeface="Wingdings" pitchFamily="2" charset="2"/>
              <a:buChar char="§"/>
              <a:defRPr sz="2000">
                <a:latin typeface="Calibri" pitchFamily="34" charset="0"/>
                <a:cs typeface="Calibri" pitchFamily="34" charset="0"/>
              </a:defRPr>
            </a:lvl1pPr>
            <a:lvl2pPr marL="576263" indent="-238125">
              <a:defRPr sz="1800">
                <a:latin typeface="Calibri" pitchFamily="34" charset="0"/>
                <a:cs typeface="Calibri" pitchFamily="34" charset="0"/>
              </a:defRPr>
            </a:lvl2pPr>
            <a:lvl3pPr marL="806450" indent="-228600">
              <a:defRPr sz="1600">
                <a:latin typeface="Calibri" pitchFamily="34" charset="0"/>
                <a:cs typeface="Calibri" pitchFamily="34" charset="0"/>
              </a:defRPr>
            </a:lvl3pPr>
            <a:lvl4pPr marL="1087438" indent="-228600">
              <a:defRPr sz="1400">
                <a:latin typeface="Calibri" pitchFamily="34" charset="0"/>
                <a:cs typeface="Calibri" pitchFamily="34" charset="0"/>
              </a:defRPr>
            </a:lvl4pPr>
            <a:lvl5pPr marL="1317625" indent="-228600">
              <a:defRPr sz="12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25517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58552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5048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06204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3088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9477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4909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044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098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948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0008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65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174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13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5449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176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737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364288"/>
            <a:ext cx="1416249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6324601"/>
            <a:ext cx="21574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499FA-1D36-4D85-A29A-76D9DB51C3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971675" y="6283325"/>
            <a:ext cx="54864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Source: xxx</a:t>
            </a:r>
          </a:p>
        </p:txBody>
      </p:sp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428625" y="7620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214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13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762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54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8478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44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3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282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35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237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1556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60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3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65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80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49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034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7507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928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384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6382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89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60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394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94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2293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218315" y="1672814"/>
            <a:ext cx="45262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550099" y="6430384"/>
            <a:ext cx="280555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914293">
              <a:lnSpc>
                <a:spcPts val="897"/>
              </a:lnSpc>
            </a:pPr>
            <a:r>
              <a:rPr lang="en-US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88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95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6078682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7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2796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218315" y="1952513"/>
            <a:ext cx="4526280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021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42405" y="1952513"/>
            <a:ext cx="4526280" cy="389695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314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6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665913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780068" y="1952513"/>
            <a:ext cx="2964527" cy="3896958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019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218315" y="1952514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4240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218315" y="3969573"/>
            <a:ext cx="4526280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49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86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5" y="1952514"/>
            <a:ext cx="9202190" cy="1879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0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218315" y="3969573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479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42404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218315" y="1952514"/>
            <a:ext cx="452628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275" y="3969573"/>
            <a:ext cx="9202190" cy="18798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7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9510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42406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66347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780068" y="1952514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06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66347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6780068" y="3969573"/>
            <a:ext cx="2964527" cy="1879899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61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1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2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425310" y="710006"/>
            <a:ext cx="30457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914293"/>
            <a:r>
              <a:rPr lang="en-US" sz="1100" noProof="1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750346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6240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846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389660" y="90668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74446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2767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4867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42405" y="1393299"/>
            <a:ext cx="9202190" cy="446276"/>
          </a:xfrm>
        </p:spPr>
        <p:txBody>
          <a:bodyPr wrap="square" tIns="0" bIns="0" anchor="t">
            <a:spAutoFit/>
          </a:bodyPr>
          <a:lstStyle>
            <a:lvl1pPr algn="l">
              <a:defRPr sz="29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542405" y="959294"/>
            <a:ext cx="9202190" cy="381176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2900" b="0" i="0">
                <a:solidFill>
                  <a:schemeClr val="tx1"/>
                </a:solidFill>
                <a:latin typeface="+mj-lt"/>
              </a:defRPr>
            </a:lvl1pPr>
            <a:lvl2pPr marL="4571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01706"/>
            <a:ext cx="1636568" cy="236748"/>
          </a:xfrm>
          <a:prstGeom prst="rect">
            <a:avLst/>
          </a:prstGeom>
          <a:noFill/>
        </p:spPr>
        <p:txBody>
          <a:bodyPr wrap="square" lIns="82058" tIns="41029" rIns="82058" bIns="41029" rtlCol="0">
            <a:spAutoFit/>
          </a:bodyPr>
          <a:lstStyle/>
          <a:p>
            <a:pPr defTabSz="914293"/>
            <a:r>
              <a:rPr lang="en-US" sz="1000" noProof="1">
                <a:solidFill>
                  <a:srgbClr val="000000"/>
                </a:solidFill>
              </a:rPr>
              <a:t>Slide Tags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89660" y="905295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783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4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1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1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5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6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57" name="Content Placeholder 34"/>
          <p:cNvSpPr>
            <a:spLocks noGrp="1"/>
          </p:cNvSpPr>
          <p:nvPr>
            <p:ph sz="quarter" idx="10" hasCustomPrompt="1"/>
            <p:custDataLst>
              <p:tags r:id="rId3"/>
            </p:custDataLst>
          </p:nvPr>
        </p:nvSpPr>
        <p:spPr>
          <a:xfrm>
            <a:off x="542406" y="4098665"/>
            <a:ext cx="1253143" cy="1145689"/>
          </a:xfrm>
        </p:spPr>
        <p:txBody>
          <a:bodyPr/>
          <a:lstStyle>
            <a:lvl1pPr>
              <a:defRPr sz="9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58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over image"/>
          <p:cNvSpPr txBox="1"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0" name="Descriptor"/>
          <p:cNvSpPr txBox="1"/>
          <p:nvPr userDrawn="1">
            <p:custDataLst>
              <p:tags r:id="rId5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9742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156058" y="5640894"/>
            <a:ext cx="1245668" cy="816350"/>
            <a:chOff x="3835013" y="2828854"/>
            <a:chExt cx="1217986" cy="925197"/>
          </a:xfrm>
        </p:grpSpPr>
        <p:grpSp>
          <p:nvGrpSpPr>
            <p:cNvPr id="28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34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30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2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Repo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6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tx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66" name="Frame Line"/>
          <p:cNvCxnSpPr/>
          <p:nvPr userDrawn="1"/>
        </p:nvCxnSpPr>
        <p:spPr bwMode="black">
          <a:xfrm flipV="1">
            <a:off x="1948297" y="1006541"/>
            <a:ext cx="7788431" cy="127059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9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0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7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607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9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Logo with Panels"/>
          <p:cNvGrpSpPr/>
          <p:nvPr userDrawn="1"/>
        </p:nvGrpSpPr>
        <p:grpSpPr>
          <a:xfrm>
            <a:off x="1156059" y="0"/>
            <a:ext cx="9130942" cy="6457244"/>
            <a:chOff x="1130368" y="0"/>
            <a:chExt cx="8928032" cy="7318210"/>
          </a:xfrm>
        </p:grpSpPr>
        <p:grpSp>
          <p:nvGrpSpPr>
            <p:cNvPr id="19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31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4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5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cxnSp>
        <p:nvCxnSpPr>
          <p:cNvPr id="36" name="Frame Line"/>
          <p:cNvCxnSpPr/>
          <p:nvPr userDrawn="1"/>
        </p:nvCxnSpPr>
        <p:spPr bwMode="black">
          <a:xfrm flipV="1">
            <a:off x="389660" y="3170817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9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343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71525" y="2130476"/>
            <a:ext cx="874395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14350" y="6356401"/>
            <a:ext cx="24003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514725" y="6356401"/>
            <a:ext cx="32575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fondo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18 Grupo"/>
          <p:cNvGrpSpPr/>
          <p:nvPr/>
        </p:nvGrpSpPr>
        <p:grpSpPr>
          <a:xfrm>
            <a:off x="7814760" y="6330551"/>
            <a:ext cx="2322512" cy="406398"/>
            <a:chOff x="6946451" y="6330551"/>
            <a:chExt cx="2064454" cy="406398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946451" y="6330551"/>
              <a:ext cx="449960" cy="406398"/>
            </a:xfrm>
            <a:custGeom>
              <a:avLst/>
              <a:gdLst>
                <a:gd name="T0" fmla="*/ 171 w 332"/>
                <a:gd name="T1" fmla="*/ 14 h 300"/>
                <a:gd name="T2" fmla="*/ 234 w 332"/>
                <a:gd name="T3" fmla="*/ 134 h 300"/>
                <a:gd name="T4" fmla="*/ 232 w 332"/>
                <a:gd name="T5" fmla="*/ 143 h 300"/>
                <a:gd name="T6" fmla="*/ 332 w 332"/>
                <a:gd name="T7" fmla="*/ 217 h 300"/>
                <a:gd name="T8" fmla="*/ 166 w 332"/>
                <a:gd name="T9" fmla="*/ 300 h 300"/>
                <a:gd name="T10" fmla="*/ 165 w 332"/>
                <a:gd name="T11" fmla="*/ 300 h 300"/>
                <a:gd name="T12" fmla="*/ 0 w 332"/>
                <a:gd name="T13" fmla="*/ 219 h 300"/>
                <a:gd name="T14" fmla="*/ 99 w 332"/>
                <a:gd name="T15" fmla="*/ 143 h 300"/>
                <a:gd name="T16" fmla="*/ 163 w 332"/>
                <a:gd name="T17" fmla="*/ 245 h 300"/>
                <a:gd name="T18" fmla="*/ 163 w 332"/>
                <a:gd name="T19" fmla="*/ 249 h 300"/>
                <a:gd name="T20" fmla="*/ 163 w 332"/>
                <a:gd name="T21" fmla="*/ 253 h 300"/>
                <a:gd name="T22" fmla="*/ 176 w 332"/>
                <a:gd name="T23" fmla="*/ 224 h 300"/>
                <a:gd name="T24" fmla="*/ 116 w 332"/>
                <a:gd name="T25" fmla="*/ 98 h 300"/>
                <a:gd name="T26" fmla="*/ 134 w 332"/>
                <a:gd name="T27" fmla="*/ 60 h 300"/>
                <a:gd name="T28" fmla="*/ 134 w 332"/>
                <a:gd name="T29" fmla="*/ 74 h 300"/>
                <a:gd name="T30" fmla="*/ 199 w 332"/>
                <a:gd name="T31" fmla="*/ 186 h 300"/>
                <a:gd name="T32" fmla="*/ 199 w 332"/>
                <a:gd name="T33" fmla="*/ 197 h 300"/>
                <a:gd name="T34" fmla="*/ 214 w 332"/>
                <a:gd name="T35" fmla="*/ 164 h 300"/>
                <a:gd name="T36" fmla="*/ 153 w 332"/>
                <a:gd name="T37" fmla="*/ 38 h 300"/>
                <a:gd name="T38" fmla="*/ 171 w 332"/>
                <a:gd name="T39" fmla="*/ 0 h 300"/>
                <a:gd name="T40" fmla="*/ 171 w 332"/>
                <a:gd name="T41" fmla="*/ 1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2" h="300">
                  <a:moveTo>
                    <a:pt x="171" y="14"/>
                  </a:moveTo>
                  <a:cubicBezTo>
                    <a:pt x="171" y="51"/>
                    <a:pt x="234" y="92"/>
                    <a:pt x="234" y="134"/>
                  </a:cubicBezTo>
                  <a:cubicBezTo>
                    <a:pt x="234" y="134"/>
                    <a:pt x="234" y="138"/>
                    <a:pt x="232" y="143"/>
                  </a:cubicBezTo>
                  <a:cubicBezTo>
                    <a:pt x="291" y="155"/>
                    <a:pt x="332" y="183"/>
                    <a:pt x="332" y="217"/>
                  </a:cubicBezTo>
                  <a:cubicBezTo>
                    <a:pt x="332" y="262"/>
                    <a:pt x="258" y="300"/>
                    <a:pt x="166" y="300"/>
                  </a:cubicBezTo>
                  <a:cubicBezTo>
                    <a:pt x="166" y="300"/>
                    <a:pt x="165" y="300"/>
                    <a:pt x="165" y="300"/>
                  </a:cubicBezTo>
                  <a:cubicBezTo>
                    <a:pt x="74" y="300"/>
                    <a:pt x="0" y="264"/>
                    <a:pt x="0" y="219"/>
                  </a:cubicBezTo>
                  <a:cubicBezTo>
                    <a:pt x="0" y="185"/>
                    <a:pt x="45" y="158"/>
                    <a:pt x="99" y="143"/>
                  </a:cubicBezTo>
                  <a:cubicBezTo>
                    <a:pt x="99" y="162"/>
                    <a:pt x="161" y="221"/>
                    <a:pt x="163" y="245"/>
                  </a:cubicBezTo>
                  <a:cubicBezTo>
                    <a:pt x="163" y="245"/>
                    <a:pt x="163" y="247"/>
                    <a:pt x="163" y="249"/>
                  </a:cubicBezTo>
                  <a:cubicBezTo>
                    <a:pt x="163" y="250"/>
                    <a:pt x="163" y="251"/>
                    <a:pt x="163" y="253"/>
                  </a:cubicBezTo>
                  <a:cubicBezTo>
                    <a:pt x="176" y="246"/>
                    <a:pt x="176" y="224"/>
                    <a:pt x="176" y="224"/>
                  </a:cubicBezTo>
                  <a:cubicBezTo>
                    <a:pt x="176" y="172"/>
                    <a:pt x="116" y="149"/>
                    <a:pt x="116" y="98"/>
                  </a:cubicBezTo>
                  <a:cubicBezTo>
                    <a:pt x="116" y="79"/>
                    <a:pt x="125" y="64"/>
                    <a:pt x="134" y="60"/>
                  </a:cubicBezTo>
                  <a:cubicBezTo>
                    <a:pt x="134" y="74"/>
                    <a:pt x="134" y="74"/>
                    <a:pt x="134" y="74"/>
                  </a:cubicBezTo>
                  <a:cubicBezTo>
                    <a:pt x="134" y="111"/>
                    <a:pt x="199" y="152"/>
                    <a:pt x="199" y="186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214" y="191"/>
                    <a:pt x="214" y="164"/>
                    <a:pt x="214" y="164"/>
                  </a:cubicBezTo>
                  <a:cubicBezTo>
                    <a:pt x="214" y="117"/>
                    <a:pt x="153" y="91"/>
                    <a:pt x="153" y="38"/>
                  </a:cubicBezTo>
                  <a:cubicBezTo>
                    <a:pt x="153" y="19"/>
                    <a:pt x="163" y="4"/>
                    <a:pt x="171" y="0"/>
                  </a:cubicBezTo>
                  <a:cubicBezTo>
                    <a:pt x="171" y="14"/>
                    <a:pt x="171" y="14"/>
                    <a:pt x="171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507695" y="6453705"/>
              <a:ext cx="152801" cy="253487"/>
            </a:xfrm>
            <a:custGeom>
              <a:avLst/>
              <a:gdLst>
                <a:gd name="T0" fmla="*/ 54 w 128"/>
                <a:gd name="T1" fmla="*/ 212 h 212"/>
                <a:gd name="T2" fmla="*/ 0 w 128"/>
                <a:gd name="T3" fmla="*/ 203 h 212"/>
                <a:gd name="T4" fmla="*/ 0 w 128"/>
                <a:gd name="T5" fmla="*/ 148 h 212"/>
                <a:gd name="T6" fmla="*/ 7 w 128"/>
                <a:gd name="T7" fmla="*/ 148 h 212"/>
                <a:gd name="T8" fmla="*/ 59 w 128"/>
                <a:gd name="T9" fmla="*/ 199 h 212"/>
                <a:gd name="T10" fmla="*/ 102 w 128"/>
                <a:gd name="T11" fmla="*/ 163 h 212"/>
                <a:gd name="T12" fmla="*/ 63 w 128"/>
                <a:gd name="T13" fmla="*/ 121 h 212"/>
                <a:gd name="T14" fmla="*/ 40 w 128"/>
                <a:gd name="T15" fmla="*/ 109 h 212"/>
                <a:gd name="T16" fmla="*/ 1 w 128"/>
                <a:gd name="T17" fmla="*/ 57 h 212"/>
                <a:gd name="T18" fmla="*/ 67 w 128"/>
                <a:gd name="T19" fmla="*/ 0 h 212"/>
                <a:gd name="T20" fmla="*/ 121 w 128"/>
                <a:gd name="T21" fmla="*/ 10 h 212"/>
                <a:gd name="T22" fmla="*/ 121 w 128"/>
                <a:gd name="T23" fmla="*/ 59 h 212"/>
                <a:gd name="T24" fmla="*/ 113 w 128"/>
                <a:gd name="T25" fmla="*/ 59 h 212"/>
                <a:gd name="T26" fmla="*/ 64 w 128"/>
                <a:gd name="T27" fmla="*/ 13 h 212"/>
                <a:gd name="T28" fmla="*/ 29 w 128"/>
                <a:gd name="T29" fmla="*/ 43 h 212"/>
                <a:gd name="T30" fmla="*/ 59 w 128"/>
                <a:gd name="T31" fmla="*/ 80 h 212"/>
                <a:gd name="T32" fmla="*/ 82 w 128"/>
                <a:gd name="T33" fmla="*/ 91 h 212"/>
                <a:gd name="T34" fmla="*/ 128 w 128"/>
                <a:gd name="T35" fmla="*/ 149 h 212"/>
                <a:gd name="T36" fmla="*/ 54 w 128"/>
                <a:gd name="T3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212">
                  <a:moveTo>
                    <a:pt x="54" y="212"/>
                  </a:moveTo>
                  <a:cubicBezTo>
                    <a:pt x="23" y="212"/>
                    <a:pt x="0" y="203"/>
                    <a:pt x="0" y="203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1" y="177"/>
                    <a:pt x="34" y="199"/>
                    <a:pt x="59" y="199"/>
                  </a:cubicBezTo>
                  <a:cubicBezTo>
                    <a:pt x="84" y="199"/>
                    <a:pt x="102" y="185"/>
                    <a:pt x="102" y="163"/>
                  </a:cubicBezTo>
                  <a:cubicBezTo>
                    <a:pt x="102" y="139"/>
                    <a:pt x="78" y="129"/>
                    <a:pt x="63" y="121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18" y="99"/>
                    <a:pt x="1" y="81"/>
                    <a:pt x="1" y="57"/>
                  </a:cubicBezTo>
                  <a:cubicBezTo>
                    <a:pt x="1" y="26"/>
                    <a:pt x="24" y="0"/>
                    <a:pt x="67" y="0"/>
                  </a:cubicBezTo>
                  <a:cubicBezTo>
                    <a:pt x="97" y="0"/>
                    <a:pt x="121" y="10"/>
                    <a:pt x="121" y="1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13" y="59"/>
                    <a:pt x="113" y="59"/>
                    <a:pt x="113" y="59"/>
                  </a:cubicBezTo>
                  <a:cubicBezTo>
                    <a:pt x="108" y="33"/>
                    <a:pt x="94" y="13"/>
                    <a:pt x="64" y="13"/>
                  </a:cubicBezTo>
                  <a:cubicBezTo>
                    <a:pt x="42" y="13"/>
                    <a:pt x="29" y="28"/>
                    <a:pt x="29" y="43"/>
                  </a:cubicBezTo>
                  <a:cubicBezTo>
                    <a:pt x="29" y="63"/>
                    <a:pt x="43" y="72"/>
                    <a:pt x="59" y="80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103" y="102"/>
                    <a:pt x="128" y="119"/>
                    <a:pt x="128" y="149"/>
                  </a:cubicBezTo>
                  <a:cubicBezTo>
                    <a:pt x="128" y="187"/>
                    <a:pt x="102" y="212"/>
                    <a:pt x="54" y="2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7693889" y="6544778"/>
              <a:ext cx="147235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7851748" y="6544778"/>
              <a:ext cx="183158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90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4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7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90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4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4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8046543" y="6506325"/>
              <a:ext cx="114853" cy="197325"/>
            </a:xfrm>
            <a:custGeom>
              <a:avLst/>
              <a:gdLst>
                <a:gd name="T0" fmla="*/ 91 w 96"/>
                <a:gd name="T1" fmla="*/ 49 h 165"/>
                <a:gd name="T2" fmla="*/ 50 w 96"/>
                <a:gd name="T3" fmla="*/ 49 h 165"/>
                <a:gd name="T4" fmla="*/ 50 w 96"/>
                <a:gd name="T5" fmla="*/ 121 h 165"/>
                <a:gd name="T6" fmla="*/ 70 w 96"/>
                <a:gd name="T7" fmla="*/ 146 h 165"/>
                <a:gd name="T8" fmla="*/ 91 w 96"/>
                <a:gd name="T9" fmla="*/ 141 h 165"/>
                <a:gd name="T10" fmla="*/ 94 w 96"/>
                <a:gd name="T11" fmla="*/ 148 h 165"/>
                <a:gd name="T12" fmla="*/ 68 w 96"/>
                <a:gd name="T13" fmla="*/ 164 h 165"/>
                <a:gd name="T14" fmla="*/ 60 w 96"/>
                <a:gd name="T15" fmla="*/ 165 h 165"/>
                <a:gd name="T16" fmla="*/ 21 w 96"/>
                <a:gd name="T17" fmla="*/ 119 h 165"/>
                <a:gd name="T18" fmla="*/ 21 w 96"/>
                <a:gd name="T19" fmla="*/ 49 h 165"/>
                <a:gd name="T20" fmla="*/ 0 w 96"/>
                <a:gd name="T21" fmla="*/ 49 h 165"/>
                <a:gd name="T22" fmla="*/ 0 w 96"/>
                <a:gd name="T23" fmla="*/ 42 h 165"/>
                <a:gd name="T24" fmla="*/ 44 w 96"/>
                <a:gd name="T25" fmla="*/ 0 h 165"/>
                <a:gd name="T26" fmla="*/ 50 w 96"/>
                <a:gd name="T27" fmla="*/ 0 h 165"/>
                <a:gd name="T28" fmla="*/ 50 w 96"/>
                <a:gd name="T29" fmla="*/ 37 h 165"/>
                <a:gd name="T30" fmla="*/ 96 w 96"/>
                <a:gd name="T31" fmla="*/ 37 h 165"/>
                <a:gd name="T32" fmla="*/ 91 w 96"/>
                <a:gd name="T33" fmla="*/ 49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165">
                  <a:moveTo>
                    <a:pt x="91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37"/>
                    <a:pt x="58" y="146"/>
                    <a:pt x="70" y="146"/>
                  </a:cubicBezTo>
                  <a:cubicBezTo>
                    <a:pt x="75" y="146"/>
                    <a:pt x="83" y="145"/>
                    <a:pt x="91" y="141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68" y="164"/>
                    <a:pt x="68" y="164"/>
                    <a:pt x="68" y="164"/>
                  </a:cubicBezTo>
                  <a:cubicBezTo>
                    <a:pt x="68" y="164"/>
                    <a:pt x="62" y="165"/>
                    <a:pt x="60" y="165"/>
                  </a:cubicBezTo>
                  <a:cubicBezTo>
                    <a:pt x="35" y="165"/>
                    <a:pt x="21" y="150"/>
                    <a:pt x="21" y="11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32" y="30"/>
                    <a:pt x="4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1" y="49"/>
                    <a:pt x="91" y="49"/>
                    <a:pt x="91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8174551" y="6544778"/>
              <a:ext cx="146729" cy="160390"/>
            </a:xfrm>
            <a:custGeom>
              <a:avLst/>
              <a:gdLst>
                <a:gd name="T0" fmla="*/ 33 w 123"/>
                <a:gd name="T1" fmla="*/ 134 h 134"/>
                <a:gd name="T2" fmla="*/ 0 w 123"/>
                <a:gd name="T3" fmla="*/ 102 h 134"/>
                <a:gd name="T4" fmla="*/ 33 w 123"/>
                <a:gd name="T5" fmla="*/ 69 h 134"/>
                <a:gd name="T6" fmla="*/ 72 w 123"/>
                <a:gd name="T7" fmla="*/ 55 h 134"/>
                <a:gd name="T8" fmla="*/ 72 w 123"/>
                <a:gd name="T9" fmla="*/ 43 h 134"/>
                <a:gd name="T10" fmla="*/ 51 w 123"/>
                <a:gd name="T11" fmla="*/ 13 h 134"/>
                <a:gd name="T12" fmla="*/ 29 w 123"/>
                <a:gd name="T13" fmla="*/ 24 h 134"/>
                <a:gd name="T14" fmla="*/ 27 w 123"/>
                <a:gd name="T15" fmla="*/ 34 h 134"/>
                <a:gd name="T16" fmla="*/ 30 w 123"/>
                <a:gd name="T17" fmla="*/ 44 h 134"/>
                <a:gd name="T18" fmla="*/ 11 w 123"/>
                <a:gd name="T19" fmla="*/ 53 h 134"/>
                <a:gd name="T20" fmla="*/ 6 w 123"/>
                <a:gd name="T21" fmla="*/ 37 h 134"/>
                <a:gd name="T22" fmla="*/ 6 w 123"/>
                <a:gd name="T23" fmla="*/ 34 h 134"/>
                <a:gd name="T24" fmla="*/ 28 w 123"/>
                <a:gd name="T25" fmla="*/ 9 h 134"/>
                <a:gd name="T26" fmla="*/ 58 w 123"/>
                <a:gd name="T27" fmla="*/ 0 h 134"/>
                <a:gd name="T28" fmla="*/ 101 w 123"/>
                <a:gd name="T29" fmla="*/ 38 h 134"/>
                <a:gd name="T30" fmla="*/ 101 w 123"/>
                <a:gd name="T31" fmla="*/ 98 h 134"/>
                <a:gd name="T32" fmla="*/ 109 w 123"/>
                <a:gd name="T33" fmla="*/ 114 h 134"/>
                <a:gd name="T34" fmla="*/ 116 w 123"/>
                <a:gd name="T35" fmla="*/ 113 h 134"/>
                <a:gd name="T36" fmla="*/ 123 w 123"/>
                <a:gd name="T37" fmla="*/ 111 h 134"/>
                <a:gd name="T38" fmla="*/ 123 w 123"/>
                <a:gd name="T39" fmla="*/ 119 h 134"/>
                <a:gd name="T40" fmla="*/ 83 w 123"/>
                <a:gd name="T41" fmla="*/ 134 h 134"/>
                <a:gd name="T42" fmla="*/ 73 w 123"/>
                <a:gd name="T43" fmla="*/ 116 h 134"/>
                <a:gd name="T44" fmla="*/ 33 w 123"/>
                <a:gd name="T45" fmla="*/ 134 h 134"/>
                <a:gd name="T46" fmla="*/ 44 w 123"/>
                <a:gd name="T47" fmla="*/ 76 h 134"/>
                <a:gd name="T48" fmla="*/ 28 w 123"/>
                <a:gd name="T49" fmla="*/ 97 h 134"/>
                <a:gd name="T50" fmla="*/ 47 w 123"/>
                <a:gd name="T51" fmla="*/ 117 h 134"/>
                <a:gd name="T52" fmla="*/ 72 w 123"/>
                <a:gd name="T53" fmla="*/ 107 h 134"/>
                <a:gd name="T54" fmla="*/ 72 w 123"/>
                <a:gd name="T55" fmla="*/ 64 h 134"/>
                <a:gd name="T56" fmla="*/ 44 w 123"/>
                <a:gd name="T57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34">
                  <a:moveTo>
                    <a:pt x="33" y="134"/>
                  </a:moveTo>
                  <a:cubicBezTo>
                    <a:pt x="13" y="134"/>
                    <a:pt x="0" y="121"/>
                    <a:pt x="0" y="102"/>
                  </a:cubicBezTo>
                  <a:cubicBezTo>
                    <a:pt x="0" y="88"/>
                    <a:pt x="10" y="77"/>
                    <a:pt x="33" y="69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24"/>
                    <a:pt x="63" y="13"/>
                    <a:pt x="51" y="13"/>
                  </a:cubicBezTo>
                  <a:cubicBezTo>
                    <a:pt x="42" y="13"/>
                    <a:pt x="33" y="17"/>
                    <a:pt x="29" y="24"/>
                  </a:cubicBezTo>
                  <a:cubicBezTo>
                    <a:pt x="27" y="27"/>
                    <a:pt x="27" y="31"/>
                    <a:pt x="27" y="34"/>
                  </a:cubicBezTo>
                  <a:cubicBezTo>
                    <a:pt x="27" y="39"/>
                    <a:pt x="30" y="44"/>
                    <a:pt x="30" y="4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8" y="49"/>
                    <a:pt x="6" y="43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7" y="23"/>
                    <a:pt x="16" y="16"/>
                    <a:pt x="28" y="9"/>
                  </a:cubicBezTo>
                  <a:cubicBezTo>
                    <a:pt x="40" y="2"/>
                    <a:pt x="51" y="0"/>
                    <a:pt x="58" y="0"/>
                  </a:cubicBezTo>
                  <a:cubicBezTo>
                    <a:pt x="94" y="0"/>
                    <a:pt x="101" y="29"/>
                    <a:pt x="101" y="38"/>
                  </a:cubicBezTo>
                  <a:cubicBezTo>
                    <a:pt x="101" y="98"/>
                    <a:pt x="101" y="98"/>
                    <a:pt x="101" y="98"/>
                  </a:cubicBezTo>
                  <a:cubicBezTo>
                    <a:pt x="101" y="108"/>
                    <a:pt x="102" y="114"/>
                    <a:pt x="109" y="114"/>
                  </a:cubicBezTo>
                  <a:cubicBezTo>
                    <a:pt x="112" y="114"/>
                    <a:pt x="113" y="114"/>
                    <a:pt x="116" y="113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9"/>
                    <a:pt x="123" y="119"/>
                    <a:pt x="123" y="119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77" y="130"/>
                    <a:pt x="74" y="122"/>
                    <a:pt x="73" y="116"/>
                  </a:cubicBezTo>
                  <a:cubicBezTo>
                    <a:pt x="63" y="124"/>
                    <a:pt x="46" y="134"/>
                    <a:pt x="33" y="134"/>
                  </a:cubicBezTo>
                  <a:close/>
                  <a:moveTo>
                    <a:pt x="44" y="76"/>
                  </a:moveTo>
                  <a:cubicBezTo>
                    <a:pt x="38" y="78"/>
                    <a:pt x="28" y="83"/>
                    <a:pt x="28" y="97"/>
                  </a:cubicBezTo>
                  <a:cubicBezTo>
                    <a:pt x="28" y="105"/>
                    <a:pt x="32" y="117"/>
                    <a:pt x="47" y="117"/>
                  </a:cubicBezTo>
                  <a:cubicBezTo>
                    <a:pt x="54" y="117"/>
                    <a:pt x="64" y="113"/>
                    <a:pt x="72" y="107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44" y="76"/>
                    <a:pt x="44" y="76"/>
                    <a:pt x="44" y="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8332411" y="6544778"/>
              <a:ext cx="182652" cy="157860"/>
            </a:xfrm>
            <a:custGeom>
              <a:avLst/>
              <a:gdLst>
                <a:gd name="T0" fmla="*/ 0 w 153"/>
                <a:gd name="T1" fmla="*/ 132 h 132"/>
                <a:gd name="T2" fmla="*/ 0 w 153"/>
                <a:gd name="T3" fmla="*/ 125 h 132"/>
                <a:gd name="T4" fmla="*/ 10 w 153"/>
                <a:gd name="T5" fmla="*/ 123 h 132"/>
                <a:gd name="T6" fmla="*/ 20 w 153"/>
                <a:gd name="T7" fmla="*/ 112 h 132"/>
                <a:gd name="T8" fmla="*/ 20 w 153"/>
                <a:gd name="T9" fmla="*/ 34 h 132"/>
                <a:gd name="T10" fmla="*/ 11 w 153"/>
                <a:gd name="T11" fmla="*/ 24 h 132"/>
                <a:gd name="T12" fmla="*/ 4 w 153"/>
                <a:gd name="T13" fmla="*/ 25 h 132"/>
                <a:gd name="T14" fmla="*/ 0 w 153"/>
                <a:gd name="T15" fmla="*/ 26 h 132"/>
                <a:gd name="T16" fmla="*/ 0 w 153"/>
                <a:gd name="T17" fmla="*/ 18 h 132"/>
                <a:gd name="T18" fmla="*/ 42 w 153"/>
                <a:gd name="T19" fmla="*/ 0 h 132"/>
                <a:gd name="T20" fmla="*/ 48 w 153"/>
                <a:gd name="T21" fmla="*/ 0 h 132"/>
                <a:gd name="T22" fmla="*/ 48 w 153"/>
                <a:gd name="T23" fmla="*/ 21 h 132"/>
                <a:gd name="T24" fmla="*/ 89 w 153"/>
                <a:gd name="T25" fmla="*/ 0 h 132"/>
                <a:gd name="T26" fmla="*/ 133 w 153"/>
                <a:gd name="T27" fmla="*/ 46 h 132"/>
                <a:gd name="T28" fmla="*/ 133 w 153"/>
                <a:gd name="T29" fmla="*/ 112 h 132"/>
                <a:gd name="T30" fmla="*/ 143 w 153"/>
                <a:gd name="T31" fmla="*/ 123 h 132"/>
                <a:gd name="T32" fmla="*/ 153 w 153"/>
                <a:gd name="T33" fmla="*/ 125 h 132"/>
                <a:gd name="T34" fmla="*/ 153 w 153"/>
                <a:gd name="T35" fmla="*/ 132 h 132"/>
                <a:gd name="T36" fmla="*/ 84 w 153"/>
                <a:gd name="T37" fmla="*/ 132 h 132"/>
                <a:gd name="T38" fmla="*/ 84 w 153"/>
                <a:gd name="T39" fmla="*/ 125 h 132"/>
                <a:gd name="T40" fmla="*/ 94 w 153"/>
                <a:gd name="T41" fmla="*/ 123 h 132"/>
                <a:gd name="T42" fmla="*/ 104 w 153"/>
                <a:gd name="T43" fmla="*/ 112 h 132"/>
                <a:gd name="T44" fmla="*/ 104 w 153"/>
                <a:gd name="T45" fmla="*/ 46 h 132"/>
                <a:gd name="T46" fmla="*/ 79 w 153"/>
                <a:gd name="T47" fmla="*/ 18 h 132"/>
                <a:gd name="T48" fmla="*/ 49 w 153"/>
                <a:gd name="T49" fmla="*/ 31 h 132"/>
                <a:gd name="T50" fmla="*/ 49 w 153"/>
                <a:gd name="T51" fmla="*/ 112 h 132"/>
                <a:gd name="T52" fmla="*/ 59 w 153"/>
                <a:gd name="T53" fmla="*/ 123 h 132"/>
                <a:gd name="T54" fmla="*/ 69 w 153"/>
                <a:gd name="T55" fmla="*/ 125 h 132"/>
                <a:gd name="T56" fmla="*/ 69 w 153"/>
                <a:gd name="T57" fmla="*/ 132 h 132"/>
                <a:gd name="T58" fmla="*/ 0 w 153"/>
                <a:gd name="T5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132">
                  <a:moveTo>
                    <a:pt x="0" y="132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6" y="122"/>
                    <a:pt x="20" y="117"/>
                    <a:pt x="20" y="11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27"/>
                    <a:pt x="17" y="24"/>
                    <a:pt x="11" y="24"/>
                  </a:cubicBezTo>
                  <a:cubicBezTo>
                    <a:pt x="9" y="24"/>
                    <a:pt x="6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61" y="7"/>
                    <a:pt x="76" y="0"/>
                    <a:pt x="89" y="0"/>
                  </a:cubicBezTo>
                  <a:cubicBezTo>
                    <a:pt x="119" y="0"/>
                    <a:pt x="133" y="21"/>
                    <a:pt x="133" y="46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3" y="117"/>
                    <a:pt x="138" y="122"/>
                    <a:pt x="143" y="123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32"/>
                    <a:pt x="153" y="132"/>
                    <a:pt x="153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94" y="123"/>
                    <a:pt x="94" y="123"/>
                    <a:pt x="94" y="123"/>
                  </a:cubicBezTo>
                  <a:cubicBezTo>
                    <a:pt x="100" y="122"/>
                    <a:pt x="104" y="117"/>
                    <a:pt x="104" y="112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37"/>
                    <a:pt x="102" y="18"/>
                    <a:pt x="79" y="18"/>
                  </a:cubicBezTo>
                  <a:cubicBezTo>
                    <a:pt x="66" y="18"/>
                    <a:pt x="55" y="26"/>
                    <a:pt x="49" y="31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49" y="117"/>
                    <a:pt x="53" y="122"/>
                    <a:pt x="59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0" y="132"/>
                    <a:pt x="0" y="132"/>
                    <a:pt x="0" y="1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8531760" y="6430937"/>
              <a:ext cx="181640" cy="274231"/>
            </a:xfrm>
            <a:custGeom>
              <a:avLst/>
              <a:gdLst>
                <a:gd name="T0" fmla="*/ 60 w 152"/>
                <a:gd name="T1" fmla="*/ 229 h 229"/>
                <a:gd name="T2" fmla="*/ 0 w 152"/>
                <a:gd name="T3" fmla="*/ 165 h 229"/>
                <a:gd name="T4" fmla="*/ 70 w 152"/>
                <a:gd name="T5" fmla="*/ 95 h 229"/>
                <a:gd name="T6" fmla="*/ 100 w 152"/>
                <a:gd name="T7" fmla="*/ 100 h 229"/>
                <a:gd name="T8" fmla="*/ 100 w 152"/>
                <a:gd name="T9" fmla="*/ 34 h 229"/>
                <a:gd name="T10" fmla="*/ 91 w 152"/>
                <a:gd name="T11" fmla="*/ 25 h 229"/>
                <a:gd name="T12" fmla="*/ 83 w 152"/>
                <a:gd name="T13" fmla="*/ 26 h 229"/>
                <a:gd name="T14" fmla="*/ 77 w 152"/>
                <a:gd name="T15" fmla="*/ 28 h 229"/>
                <a:gd name="T16" fmla="*/ 77 w 152"/>
                <a:gd name="T17" fmla="*/ 20 h 229"/>
                <a:gd name="T18" fmla="*/ 123 w 152"/>
                <a:gd name="T19" fmla="*/ 0 h 229"/>
                <a:gd name="T20" fmla="*/ 129 w 152"/>
                <a:gd name="T21" fmla="*/ 0 h 229"/>
                <a:gd name="T22" fmla="*/ 129 w 152"/>
                <a:gd name="T23" fmla="*/ 192 h 229"/>
                <a:gd name="T24" fmla="*/ 138 w 152"/>
                <a:gd name="T25" fmla="*/ 209 h 229"/>
                <a:gd name="T26" fmla="*/ 145 w 152"/>
                <a:gd name="T27" fmla="*/ 208 h 229"/>
                <a:gd name="T28" fmla="*/ 152 w 152"/>
                <a:gd name="T29" fmla="*/ 206 h 229"/>
                <a:gd name="T30" fmla="*/ 152 w 152"/>
                <a:gd name="T31" fmla="*/ 214 h 229"/>
                <a:gd name="T32" fmla="*/ 112 w 152"/>
                <a:gd name="T33" fmla="*/ 229 h 229"/>
                <a:gd name="T34" fmla="*/ 101 w 152"/>
                <a:gd name="T35" fmla="*/ 210 h 229"/>
                <a:gd name="T36" fmla="*/ 60 w 152"/>
                <a:gd name="T37" fmla="*/ 229 h 229"/>
                <a:gd name="T38" fmla="*/ 73 w 152"/>
                <a:gd name="T39" fmla="*/ 107 h 229"/>
                <a:gd name="T40" fmla="*/ 31 w 152"/>
                <a:gd name="T41" fmla="*/ 159 h 229"/>
                <a:gd name="T42" fmla="*/ 73 w 152"/>
                <a:gd name="T43" fmla="*/ 211 h 229"/>
                <a:gd name="T44" fmla="*/ 100 w 152"/>
                <a:gd name="T45" fmla="*/ 198 h 229"/>
                <a:gd name="T46" fmla="*/ 100 w 152"/>
                <a:gd name="T47" fmla="*/ 122 h 229"/>
                <a:gd name="T48" fmla="*/ 73 w 152"/>
                <a:gd name="T49" fmla="*/ 1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2" h="229">
                  <a:moveTo>
                    <a:pt x="60" y="229"/>
                  </a:moveTo>
                  <a:cubicBezTo>
                    <a:pt x="33" y="229"/>
                    <a:pt x="0" y="209"/>
                    <a:pt x="0" y="165"/>
                  </a:cubicBezTo>
                  <a:cubicBezTo>
                    <a:pt x="0" y="126"/>
                    <a:pt x="30" y="95"/>
                    <a:pt x="70" y="95"/>
                  </a:cubicBezTo>
                  <a:cubicBezTo>
                    <a:pt x="83" y="95"/>
                    <a:pt x="93" y="97"/>
                    <a:pt x="100" y="100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27"/>
                    <a:pt x="96" y="25"/>
                    <a:pt x="91" y="25"/>
                  </a:cubicBezTo>
                  <a:cubicBezTo>
                    <a:pt x="89" y="25"/>
                    <a:pt x="86" y="25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92"/>
                    <a:pt x="129" y="192"/>
                    <a:pt x="129" y="192"/>
                  </a:cubicBezTo>
                  <a:cubicBezTo>
                    <a:pt x="129" y="203"/>
                    <a:pt x="131" y="209"/>
                    <a:pt x="138" y="209"/>
                  </a:cubicBezTo>
                  <a:cubicBezTo>
                    <a:pt x="141" y="209"/>
                    <a:pt x="142" y="209"/>
                    <a:pt x="145" y="208"/>
                  </a:cubicBezTo>
                  <a:cubicBezTo>
                    <a:pt x="152" y="206"/>
                    <a:pt x="152" y="206"/>
                    <a:pt x="152" y="20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12" y="229"/>
                    <a:pt x="112" y="229"/>
                    <a:pt x="112" y="229"/>
                  </a:cubicBezTo>
                  <a:cubicBezTo>
                    <a:pt x="105" y="225"/>
                    <a:pt x="102" y="217"/>
                    <a:pt x="101" y="210"/>
                  </a:cubicBezTo>
                  <a:cubicBezTo>
                    <a:pt x="93" y="218"/>
                    <a:pt x="80" y="229"/>
                    <a:pt x="60" y="229"/>
                  </a:cubicBezTo>
                  <a:close/>
                  <a:moveTo>
                    <a:pt x="73" y="107"/>
                  </a:moveTo>
                  <a:cubicBezTo>
                    <a:pt x="52" y="107"/>
                    <a:pt x="31" y="120"/>
                    <a:pt x="31" y="159"/>
                  </a:cubicBezTo>
                  <a:cubicBezTo>
                    <a:pt x="31" y="192"/>
                    <a:pt x="47" y="211"/>
                    <a:pt x="73" y="211"/>
                  </a:cubicBezTo>
                  <a:cubicBezTo>
                    <a:pt x="88" y="211"/>
                    <a:pt x="98" y="202"/>
                    <a:pt x="100" y="198"/>
                  </a:cubicBezTo>
                  <a:cubicBezTo>
                    <a:pt x="100" y="122"/>
                    <a:pt x="100" y="122"/>
                    <a:pt x="100" y="122"/>
                  </a:cubicBezTo>
                  <a:cubicBezTo>
                    <a:pt x="96" y="113"/>
                    <a:pt x="85" y="107"/>
                    <a:pt x="73" y="1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8729085" y="6544778"/>
              <a:ext cx="143187" cy="160390"/>
            </a:xfrm>
            <a:custGeom>
              <a:avLst/>
              <a:gdLst>
                <a:gd name="T0" fmla="*/ 30 w 120"/>
                <a:gd name="T1" fmla="*/ 57 h 134"/>
                <a:gd name="T2" fmla="*/ 30 w 120"/>
                <a:gd name="T3" fmla="*/ 58 h 134"/>
                <a:gd name="T4" fmla="*/ 79 w 120"/>
                <a:gd name="T5" fmla="*/ 116 h 134"/>
                <a:gd name="T6" fmla="*/ 116 w 120"/>
                <a:gd name="T7" fmla="*/ 103 h 134"/>
                <a:gd name="T8" fmla="*/ 116 w 120"/>
                <a:gd name="T9" fmla="*/ 115 h 134"/>
                <a:gd name="T10" fmla="*/ 65 w 120"/>
                <a:gd name="T11" fmla="*/ 134 h 134"/>
                <a:gd name="T12" fmla="*/ 0 w 120"/>
                <a:gd name="T13" fmla="*/ 68 h 134"/>
                <a:gd name="T14" fmla="*/ 65 w 120"/>
                <a:gd name="T15" fmla="*/ 0 h 134"/>
                <a:gd name="T16" fmla="*/ 120 w 120"/>
                <a:gd name="T17" fmla="*/ 53 h 134"/>
                <a:gd name="T18" fmla="*/ 120 w 120"/>
                <a:gd name="T19" fmla="*/ 57 h 134"/>
                <a:gd name="T20" fmla="*/ 30 w 120"/>
                <a:gd name="T21" fmla="*/ 57 h 134"/>
                <a:gd name="T22" fmla="*/ 89 w 120"/>
                <a:gd name="T23" fmla="*/ 45 h 134"/>
                <a:gd name="T24" fmla="*/ 89 w 120"/>
                <a:gd name="T25" fmla="*/ 44 h 134"/>
                <a:gd name="T26" fmla="*/ 63 w 120"/>
                <a:gd name="T27" fmla="*/ 12 h 134"/>
                <a:gd name="T28" fmla="*/ 31 w 120"/>
                <a:gd name="T29" fmla="*/ 45 h 134"/>
                <a:gd name="T30" fmla="*/ 89 w 120"/>
                <a:gd name="T3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134"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97"/>
                    <a:pt x="52" y="116"/>
                    <a:pt x="79" y="116"/>
                  </a:cubicBezTo>
                  <a:cubicBezTo>
                    <a:pt x="93" y="116"/>
                    <a:pt x="106" y="111"/>
                    <a:pt x="116" y="103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04" y="125"/>
                    <a:pt x="87" y="134"/>
                    <a:pt x="65" y="134"/>
                  </a:cubicBezTo>
                  <a:cubicBezTo>
                    <a:pt x="20" y="134"/>
                    <a:pt x="0" y="101"/>
                    <a:pt x="0" y="68"/>
                  </a:cubicBezTo>
                  <a:cubicBezTo>
                    <a:pt x="0" y="31"/>
                    <a:pt x="28" y="0"/>
                    <a:pt x="65" y="0"/>
                  </a:cubicBezTo>
                  <a:cubicBezTo>
                    <a:pt x="96" y="0"/>
                    <a:pt x="120" y="21"/>
                    <a:pt x="120" y="53"/>
                  </a:cubicBezTo>
                  <a:cubicBezTo>
                    <a:pt x="120" y="57"/>
                    <a:pt x="120" y="57"/>
                    <a:pt x="12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89" y="45"/>
                  </a:moveTo>
                  <a:cubicBezTo>
                    <a:pt x="89" y="44"/>
                    <a:pt x="89" y="44"/>
                    <a:pt x="89" y="44"/>
                  </a:cubicBezTo>
                  <a:cubicBezTo>
                    <a:pt x="89" y="22"/>
                    <a:pt x="77" y="12"/>
                    <a:pt x="63" y="12"/>
                  </a:cubicBezTo>
                  <a:cubicBezTo>
                    <a:pt x="46" y="12"/>
                    <a:pt x="34" y="23"/>
                    <a:pt x="31" y="45"/>
                  </a:cubicBezTo>
                  <a:cubicBezTo>
                    <a:pt x="89" y="45"/>
                    <a:pt x="89" y="45"/>
                    <a:pt x="89" y="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8893016" y="6543766"/>
              <a:ext cx="117889" cy="158872"/>
            </a:xfrm>
            <a:custGeom>
              <a:avLst/>
              <a:gdLst>
                <a:gd name="T0" fmla="*/ 0 w 99"/>
                <a:gd name="T1" fmla="*/ 133 h 133"/>
                <a:gd name="T2" fmla="*/ 0 w 99"/>
                <a:gd name="T3" fmla="*/ 126 h 133"/>
                <a:gd name="T4" fmla="*/ 9 w 99"/>
                <a:gd name="T5" fmla="*/ 124 h 133"/>
                <a:gd name="T6" fmla="*/ 19 w 99"/>
                <a:gd name="T7" fmla="*/ 113 h 133"/>
                <a:gd name="T8" fmla="*/ 19 w 99"/>
                <a:gd name="T9" fmla="*/ 35 h 133"/>
                <a:gd name="T10" fmla="*/ 10 w 99"/>
                <a:gd name="T11" fmla="*/ 25 h 133"/>
                <a:gd name="T12" fmla="*/ 4 w 99"/>
                <a:gd name="T13" fmla="*/ 26 h 133"/>
                <a:gd name="T14" fmla="*/ 0 w 99"/>
                <a:gd name="T15" fmla="*/ 27 h 133"/>
                <a:gd name="T16" fmla="*/ 0 w 99"/>
                <a:gd name="T17" fmla="*/ 19 h 133"/>
                <a:gd name="T18" fmla="*/ 41 w 99"/>
                <a:gd name="T19" fmla="*/ 1 h 133"/>
                <a:gd name="T20" fmla="*/ 47 w 99"/>
                <a:gd name="T21" fmla="*/ 1 h 133"/>
                <a:gd name="T22" fmla="*/ 47 w 99"/>
                <a:gd name="T23" fmla="*/ 29 h 133"/>
                <a:gd name="T24" fmla="*/ 84 w 99"/>
                <a:gd name="T25" fmla="*/ 0 h 133"/>
                <a:gd name="T26" fmla="*/ 99 w 99"/>
                <a:gd name="T27" fmla="*/ 3 h 133"/>
                <a:gd name="T28" fmla="*/ 99 w 99"/>
                <a:gd name="T29" fmla="*/ 34 h 133"/>
                <a:gd name="T30" fmla="*/ 93 w 99"/>
                <a:gd name="T31" fmla="*/ 34 h 133"/>
                <a:gd name="T32" fmla="*/ 77 w 99"/>
                <a:gd name="T33" fmla="*/ 22 h 133"/>
                <a:gd name="T34" fmla="*/ 48 w 99"/>
                <a:gd name="T35" fmla="*/ 41 h 133"/>
                <a:gd name="T36" fmla="*/ 48 w 99"/>
                <a:gd name="T37" fmla="*/ 113 h 133"/>
                <a:gd name="T38" fmla="*/ 60 w 99"/>
                <a:gd name="T39" fmla="*/ 124 h 133"/>
                <a:gd name="T40" fmla="*/ 74 w 99"/>
                <a:gd name="T41" fmla="*/ 126 h 133"/>
                <a:gd name="T42" fmla="*/ 74 w 99"/>
                <a:gd name="T43" fmla="*/ 133 h 133"/>
                <a:gd name="T44" fmla="*/ 0 w 99"/>
                <a:gd name="T4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33">
                  <a:moveTo>
                    <a:pt x="0" y="133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15" y="123"/>
                    <a:pt x="19" y="118"/>
                    <a:pt x="19" y="113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8"/>
                    <a:pt x="16" y="25"/>
                    <a:pt x="10" y="25"/>
                  </a:cubicBezTo>
                  <a:cubicBezTo>
                    <a:pt x="8" y="25"/>
                    <a:pt x="6" y="25"/>
                    <a:pt x="4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58" y="9"/>
                    <a:pt x="70" y="0"/>
                    <a:pt x="84" y="0"/>
                  </a:cubicBezTo>
                  <a:cubicBezTo>
                    <a:pt x="96" y="0"/>
                    <a:pt x="99" y="3"/>
                    <a:pt x="99" y="3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2" y="26"/>
                    <a:pt x="86" y="22"/>
                    <a:pt x="77" y="22"/>
                  </a:cubicBezTo>
                  <a:cubicBezTo>
                    <a:pt x="68" y="22"/>
                    <a:pt x="56" y="24"/>
                    <a:pt x="48" y="41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48" y="118"/>
                    <a:pt x="54" y="123"/>
                    <a:pt x="60" y="124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0" y="133"/>
                    <a:pt x="0" y="133"/>
                    <a:pt x="0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ES" sz="1800" kern="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0" name="Picture 2" descr="fondo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197" y="-3175"/>
            <a:ext cx="10335221" cy="686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36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711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502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</p:spPr>
      </p:pic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500" u="sng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67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882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9750" cy="733419"/>
          </a:xfrm>
        </p:spPr>
        <p:txBody>
          <a:bodyPr wrap="square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1381125"/>
            <a:ext cx="9429750" cy="44862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815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de-DE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3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602" y="4407096"/>
            <a:ext cx="874395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602" y="2906713"/>
            <a:ext cx="874395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80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8627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29225" y="1381129"/>
            <a:ext cx="4629150" cy="4486275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 marL="346075" indent="-173038">
              <a:defRPr sz="1200">
                <a:solidFill>
                  <a:schemeClr val="tx2"/>
                </a:solidFill>
              </a:defRPr>
            </a:lvl2pPr>
            <a:lvl3pPr marL="511175" indent="-165100">
              <a:defRPr sz="1200">
                <a:solidFill>
                  <a:schemeClr val="tx2"/>
                </a:solidFill>
              </a:defRPr>
            </a:lvl3pPr>
            <a:lvl4pPr marL="684213" indent="-173038">
              <a:defRPr sz="1200">
                <a:solidFill>
                  <a:schemeClr val="tx2"/>
                </a:solidFill>
              </a:defRPr>
            </a:lvl4pPr>
            <a:lvl5pPr marL="857250" indent="-173038">
              <a:defRPr sz="12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434"/>
            <a:ext cx="2157412" cy="352425"/>
          </a:xfrm>
          <a:prstGeom prst="rect">
            <a:avLst/>
          </a:prstGeom>
          <a:noFill/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6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Logo with Panels"/>
          <p:cNvGrpSpPr/>
          <p:nvPr userDrawn="1"/>
        </p:nvGrpSpPr>
        <p:grpSpPr>
          <a:xfrm>
            <a:off x="1156059" y="0"/>
            <a:ext cx="9130941" cy="6457244"/>
            <a:chOff x="1130368" y="0"/>
            <a:chExt cx="8928031" cy="7318210"/>
          </a:xfrm>
        </p:grpSpPr>
        <p:grpSp>
          <p:nvGrpSpPr>
            <p:cNvPr id="37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5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/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2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43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6" name="Report 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2103564" y="1112680"/>
            <a:ext cx="6078682" cy="434270"/>
          </a:xfrm>
        </p:spPr>
        <p:txBody>
          <a:bodyPr vert="horz" lIns="0" tIns="0" rIns="0" bIns="32306" rtlCol="0" anchor="t" anchorCtr="0">
            <a:spAutoFit/>
          </a:bodyPr>
          <a:lstStyle>
            <a:lvl1pPr algn="l" defTabSz="9142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9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57" name="Report 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2103564" y="1546412"/>
            <a:ext cx="6078682" cy="40164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900" baseline="0">
                <a:solidFill>
                  <a:schemeClr val="bg1"/>
                </a:solidFill>
                <a:latin typeface="+mj-lt"/>
              </a:defRPr>
            </a:lvl1pPr>
            <a:lvl2pPr marL="4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58" name="Cover image"/>
          <p:cNvSpPr txBox="1">
            <a:spLocks noChangeAspect="1"/>
          </p:cNvSpPr>
          <p:nvPr userDrawn="1">
            <p:custDataLst>
              <p:tags r:id="rId3"/>
            </p:custDataLst>
          </p:nvPr>
        </p:nvSpPr>
        <p:spPr>
          <a:xfrm>
            <a:off x="1947615" y="3167623"/>
            <a:ext cx="6872654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>
              <a:spcAft>
                <a:spcPts val="90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59" name="Frame Line"/>
          <p:cNvCxnSpPr/>
          <p:nvPr userDrawn="1"/>
        </p:nvCxnSpPr>
        <p:spPr bwMode="black">
          <a:xfrm flipV="1">
            <a:off x="389660" y="3171488"/>
            <a:ext cx="1402773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104160" y="742278"/>
            <a:ext cx="65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914293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fidentiality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42406" y="3291841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2" name="Draft stamp"/>
          <p:cNvSpPr txBox="1"/>
          <p:nvPr userDrawn="1">
            <p:custDataLst>
              <p:tags r:id="rId6"/>
            </p:custDataLst>
          </p:nvPr>
        </p:nvSpPr>
        <p:spPr bwMode="black">
          <a:xfrm>
            <a:off x="542406" y="3566160"/>
            <a:ext cx="1402773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/>
            <a:endParaRPr lang="en-US" sz="9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63" name="Report Date"/>
          <p:cNvSpPr txBox="1"/>
          <p:nvPr userDrawn="1">
            <p:custDataLst>
              <p:tags r:id="rId7"/>
            </p:custDataLst>
          </p:nvPr>
        </p:nvSpPr>
        <p:spPr bwMode="black">
          <a:xfrm>
            <a:off x="542406" y="3832413"/>
            <a:ext cx="125314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/>
            <a:endParaRPr lang="en-US" sz="900" i="1" dirty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4029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02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60" y="273050"/>
            <a:ext cx="33843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932" y="273058"/>
            <a:ext cx="57507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4460" y="1435103"/>
            <a:ext cx="338435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134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6335" y="4800600"/>
            <a:ext cx="6172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335" y="612775"/>
            <a:ext cx="6172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16335" y="5367338"/>
            <a:ext cx="6172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8895684" y="136476"/>
            <a:ext cx="864713" cy="27295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DRAFT</a:t>
            </a:r>
            <a:endParaRPr lang="en-US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912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8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00940" y="381000"/>
            <a:ext cx="2357438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81000"/>
            <a:ext cx="6900862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81007"/>
            <a:ext cx="9423019" cy="7334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30256" y="1406525"/>
            <a:ext cx="4222626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625623" y="1406525"/>
            <a:ext cx="4226020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30255" y="1930404"/>
            <a:ext cx="4222618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623931" y="1930404"/>
            <a:ext cx="4227712" cy="4100513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8375" y="0"/>
            <a:ext cx="428625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67"/>
            <a:ext cx="874395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3050" y="3886200"/>
            <a:ext cx="72009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6914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145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887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pic>
        <p:nvPicPr>
          <p:cNvPr id="6" name="Picture 16" descr="SOV_lineartRev"/>
          <p:cNvPicPr>
            <a:picLocks noChangeAspect="1" noChangeArrowheads="1"/>
          </p:cNvPicPr>
          <p:nvPr userDrawn="1"/>
        </p:nvPicPr>
        <p:blipFill>
          <a:blip r:embed="rId3"/>
          <a:srcRect l="24763"/>
          <a:stretch>
            <a:fillRect/>
          </a:stretch>
        </p:blipFill>
        <p:spPr bwMode="auto">
          <a:xfrm>
            <a:off x="342903" y="6364296"/>
            <a:ext cx="1416249" cy="425451"/>
          </a:xfrm>
          <a:prstGeom prst="rect">
            <a:avLst/>
          </a:prstGeom>
          <a:noFill/>
        </p:spPr>
      </p:pic>
      <p:pic>
        <p:nvPicPr>
          <p:cNvPr id="8" name="Picture 19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72412" y="6324636"/>
            <a:ext cx="2157413" cy="352426"/>
          </a:xfrm>
          <a:prstGeom prst="rect">
            <a:avLst/>
          </a:prstGeom>
          <a:noFill/>
        </p:spPr>
      </p:pic>
      <p:pic>
        <p:nvPicPr>
          <p:cNvPr id="9" name="Picture 21" descr="SOV_lineartRev"/>
          <p:cNvPicPr>
            <a:picLocks noChangeAspect="1" noChangeArrowheads="1"/>
          </p:cNvPicPr>
          <p:nvPr userDrawn="1"/>
        </p:nvPicPr>
        <p:blipFill>
          <a:blip r:embed="rId3"/>
          <a:srcRect l="24826"/>
          <a:stretch>
            <a:fillRect/>
          </a:stretch>
        </p:blipFill>
        <p:spPr bwMode="auto">
          <a:xfrm>
            <a:off x="278607" y="6351588"/>
            <a:ext cx="152161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32" y="381000"/>
            <a:ext cx="9429751" cy="457200"/>
          </a:xfrm>
          <a:prstGeom prst="rect">
            <a:avLst/>
          </a:prstGeom>
        </p:spPr>
        <p:txBody>
          <a:bodyPr lIns="0" tIns="36109" rIns="0" bIns="36109" anchor="b" anchorCtr="0"/>
          <a:lstStyle>
            <a:lvl1pPr>
              <a:defRPr lang="en-US" sz="1800" b="1" dirty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32" y="838200"/>
            <a:ext cx="9429751" cy="5029200"/>
          </a:xfrm>
          <a:prstGeom prst="rect">
            <a:avLst/>
          </a:prstGeom>
        </p:spPr>
        <p:txBody>
          <a:bodyPr lIns="0" tIns="36109" rIns="0" bIns="36109"/>
          <a:lstStyle>
            <a:lvl1pPr>
              <a:lnSpc>
                <a:spcPct val="100000"/>
              </a:lnSpc>
              <a:spcBef>
                <a:spcPts val="316"/>
              </a:spcBef>
              <a:defRPr/>
            </a:lvl1pPr>
            <a:lvl2pPr>
              <a:lnSpc>
                <a:spcPct val="100000"/>
              </a:lnSpc>
              <a:spcBef>
                <a:spcPts val="316"/>
              </a:spcBef>
              <a:defRPr/>
            </a:lvl2pPr>
            <a:lvl3pPr>
              <a:lnSpc>
                <a:spcPct val="100000"/>
              </a:lnSpc>
              <a:spcBef>
                <a:spcPts val="316"/>
              </a:spcBef>
              <a:defRPr/>
            </a:lvl3pPr>
            <a:lvl4pPr>
              <a:lnSpc>
                <a:spcPct val="100000"/>
              </a:lnSpc>
              <a:spcBef>
                <a:spcPts val="316"/>
              </a:spcBef>
              <a:defRPr/>
            </a:lvl4pPr>
            <a:lvl5pPr>
              <a:lnSpc>
                <a:spcPct val="100000"/>
              </a:lnSpc>
              <a:spcBef>
                <a:spcPts val="316"/>
              </a:spcBef>
              <a:buFont typeface="Arial" pitchFamily="34" charset="0"/>
              <a:buChar char="•"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0" descr="fondo02"/>
          <p:cNvPicPr>
            <a:picLocks noChangeAspect="1" noChangeArrowheads="1"/>
          </p:cNvPicPr>
          <p:nvPr userDrawn="1"/>
        </p:nvPicPr>
        <p:blipFill>
          <a:blip r:embed="rId4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4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274"/>
            <a:ext cx="2157413" cy="352426"/>
          </a:xfrm>
          <a:prstGeom prst="rect">
            <a:avLst/>
          </a:prstGeom>
          <a:noFill/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218" tIns="36109" rIns="72218" bIns="3610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2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>
          <a:xfrm>
            <a:off x="542405" y="728830"/>
            <a:ext cx="9202190" cy="806824"/>
          </a:xfrm>
        </p:spPr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42405" y="1672814"/>
            <a:ext cx="9202190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9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5218315" y="6420551"/>
            <a:ext cx="3319895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542404" y="6115722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93">
              <a:lnSpc>
                <a:spcPts val="1436"/>
              </a:lnSpc>
            </a:pPr>
            <a:endParaRPr lang="en-US" sz="14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42405" y="470647"/>
            <a:ext cx="561109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293"/>
            <a:endParaRPr lang="en-US" sz="800" noProof="1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374453" y="475582"/>
            <a:ext cx="6359237" cy="12220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293"/>
            <a:r>
              <a:rPr lang="en-US" sz="800" noProof="1">
                <a:solidFill>
                  <a:srgbClr val="000000"/>
                </a:solidFill>
              </a:rPr>
              <a:t>4/15/2013 C:\Users\cmcgarry002\Documents\PD\2013 GS CCAR Deck\BBVA CCAR Discussion 04.15.13 v3.pptx</a:t>
            </a: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89660" y="626986"/>
            <a:ext cx="9351820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0394C5F-48D8-4B88-B63D-0ED59ABE59A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00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0223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86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2925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18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fondo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"/>
            <a:ext cx="10287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Logo_Peq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525" y="2130431"/>
            <a:ext cx="8743950" cy="1470025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81" y="4591050"/>
            <a:ext cx="3086100" cy="548640"/>
          </a:xfrm>
        </p:spPr>
        <p:txBody>
          <a:bodyPr anchor="ctr"/>
          <a:lstStyle>
            <a:lvl1pPr marL="0" indent="0" algn="r">
              <a:buNone/>
              <a:defRPr b="0" i="0">
                <a:solidFill>
                  <a:schemeClr val="bg1"/>
                </a:solidFill>
              </a:defRPr>
            </a:lvl1pPr>
            <a:lvl2pPr marL="4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81" y="5143500"/>
            <a:ext cx="3086100" cy="548640"/>
          </a:xfrm>
        </p:spPr>
        <p:txBody>
          <a:bodyPr anchor="ctr"/>
          <a:lstStyle>
            <a:lvl1pPr algn="r"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9151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0734" y="152400"/>
            <a:ext cx="617220" cy="658368"/>
          </a:xfrm>
        </p:spPr>
        <p:txBody>
          <a:bodyPr anchor="ctr"/>
          <a:lstStyle>
            <a:lvl1pPr>
              <a:defRPr sz="3600" b="1" i="0">
                <a:solidFill>
                  <a:srgbClr val="FF0000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2" name="Line 13"/>
          <p:cNvSpPr>
            <a:spLocks noChangeShapeType="1"/>
          </p:cNvSpPr>
          <p:nvPr userDrawn="1"/>
        </p:nvSpPr>
        <p:spPr bwMode="auto">
          <a:xfrm>
            <a:off x="857251" y="219080"/>
            <a:ext cx="0" cy="571500"/>
          </a:xfrm>
          <a:prstGeom prst="lin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</p:spPr>
        <p:txBody>
          <a:bodyPr lIns="91392" tIns="45696" rIns="91392" bIns="456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3691" y="152405"/>
            <a:ext cx="8435340" cy="402336"/>
          </a:xfrm>
        </p:spPr>
        <p:txBody>
          <a:bodyPr anchor="ctr"/>
          <a:lstStyle>
            <a:lvl1pPr>
              <a:defRPr sz="24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953691" y="554741"/>
            <a:ext cx="8435340" cy="274320"/>
          </a:xfrm>
        </p:spPr>
        <p:txBody>
          <a:bodyPr anchor="ctr"/>
          <a:lstStyle>
            <a:lvl1pPr>
              <a:defRPr sz="12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Inser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609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240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5730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Logo_Peq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3857625" y="1066800"/>
            <a:ext cx="5314950" cy="2819400"/>
          </a:xfrm>
        </p:spPr>
        <p:txBody>
          <a:bodyPr wrap="square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" y="1219200"/>
            <a:ext cx="1800225" cy="2286000"/>
          </a:xfrm>
        </p:spPr>
        <p:txBody>
          <a:bodyPr lIns="91440" tIns="45720" rIns="91440" bIns="45720"/>
          <a:lstStyle>
            <a:lvl1pPr marL="0" indent="0">
              <a:lnSpc>
                <a:spcPct val="140000"/>
              </a:lnSpc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Subnomenclature"/>
          <p:cNvSpPr txBox="1"/>
          <p:nvPr/>
        </p:nvSpPr>
        <p:spPr>
          <a:xfrm>
            <a:off x="1016213" y="6437412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11" name="Picture 10" descr="fondo02"/>
          <p:cNvPicPr>
            <a:picLocks noChangeAspect="1" noChangeArrowheads="1"/>
          </p:cNvPicPr>
          <p:nvPr userDrawn="1"/>
        </p:nvPicPr>
        <p:blipFill>
          <a:blip r:embed="rId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2" name="Picture 11" descr="Logo_Peq0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71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76201"/>
            <a:ext cx="9429750" cy="533400"/>
          </a:xfrm>
          <a:ln>
            <a:noFill/>
          </a:ln>
        </p:spPr>
        <p:txBody>
          <a:bodyPr wrap="square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8625" y="685800"/>
            <a:ext cx="942975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Tit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FC83F1-D64B-48DF-9CCD-2AA2C35A011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2" name="Picture 10" descr="fondo02"/>
          <p:cNvPicPr>
            <a:picLocks noChangeAspect="1" noChangeArrowheads="1"/>
          </p:cNvPicPr>
          <p:nvPr/>
        </p:nvPicPr>
        <p:blipFill>
          <a:blip r:embed="rId2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1" descr="Logo_Peq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58125" y="6345339"/>
            <a:ext cx="2157413" cy="352425"/>
          </a:xfrm>
          <a:prstGeom prst="rect">
            <a:avLst/>
          </a:prstGeom>
          <a:noFill/>
        </p:spPr>
      </p:pic>
      <p:sp>
        <p:nvSpPr>
          <p:cNvPr id="9" name="DocID"/>
          <p:cNvSpPr txBox="1"/>
          <p:nvPr userDrawn="1"/>
        </p:nvSpPr>
        <p:spPr>
          <a:xfrm>
            <a:off x="1357759" y="6532791"/>
            <a:ext cx="65" cy="10772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endParaRPr lang="de-DE" sz="700" dirty="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8625" y="609600"/>
            <a:ext cx="94297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7894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8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33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tags" Target="../tags/tag334.xml"/><Relationship Id="rId5" Type="http://schemas.openxmlformats.org/officeDocument/2006/relationships/vmlDrawing" Target="../drawings/vmlDrawing9.vml"/><Relationship Id="rId10" Type="http://schemas.openxmlformats.org/officeDocument/2006/relationships/image" Target="../media/image3.jpeg"/><Relationship Id="rId4" Type="http://schemas.openxmlformats.org/officeDocument/2006/relationships/theme" Target="../theme/theme12.xml"/><Relationship Id="rId9" Type="http://schemas.openxmlformats.org/officeDocument/2006/relationships/image" Target="../media/image2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2.xml"/><Relationship Id="rId21" Type="http://schemas.openxmlformats.org/officeDocument/2006/relationships/tags" Target="../tags/tag347.xml"/><Relationship Id="rId7" Type="http://schemas.openxmlformats.org/officeDocument/2006/relationships/theme" Target="../theme/theme14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41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image" Target="../media/image5.wmf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4" Type="http://schemas.openxmlformats.org/officeDocument/2006/relationships/slideLayout" Target="../slideLayouts/slideLayout143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364.xml"/><Relationship Id="rId7" Type="http://schemas.openxmlformats.org/officeDocument/2006/relationships/theme" Target="../theme/theme15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ags" Target="../tags/tag354.xml"/><Relationship Id="rId24" Type="http://schemas.openxmlformats.org/officeDocument/2006/relationships/tags" Target="../tags/tag367.xml"/><Relationship Id="rId5" Type="http://schemas.openxmlformats.org/officeDocument/2006/relationships/slideLayout" Target="../slideLayouts/slideLayout150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28" Type="http://schemas.openxmlformats.org/officeDocument/2006/relationships/image" Target="../media/image5.wmf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Relationship Id="rId27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381.xml"/><Relationship Id="rId7" Type="http://schemas.openxmlformats.org/officeDocument/2006/relationships/theme" Target="../theme/theme16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oleObject" Target="../embeddings/oleObject14.bin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image" Target="../media/image5.w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4" Type="http://schemas.openxmlformats.org/officeDocument/2006/relationships/slideLayout" Target="../slideLayouts/slideLayout155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390.xml"/><Relationship Id="rId18" Type="http://schemas.openxmlformats.org/officeDocument/2006/relationships/tags" Target="../tags/tag395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160.xml"/><Relationship Id="rId21" Type="http://schemas.openxmlformats.org/officeDocument/2006/relationships/tags" Target="../tags/tag398.xml"/><Relationship Id="rId7" Type="http://schemas.openxmlformats.org/officeDocument/2006/relationships/theme" Target="../theme/theme17.xml"/><Relationship Id="rId12" Type="http://schemas.openxmlformats.org/officeDocument/2006/relationships/tags" Target="../tags/tag389.xml"/><Relationship Id="rId17" Type="http://schemas.openxmlformats.org/officeDocument/2006/relationships/tags" Target="../tags/tag394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59.xml"/><Relationship Id="rId16" Type="http://schemas.openxmlformats.org/officeDocument/2006/relationships/tags" Target="../tags/tag393.xml"/><Relationship Id="rId20" Type="http://schemas.openxmlformats.org/officeDocument/2006/relationships/tags" Target="../tags/tag397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tags" Target="../tags/tag388.xml"/><Relationship Id="rId24" Type="http://schemas.openxmlformats.org/officeDocument/2006/relationships/tags" Target="../tags/tag401.xml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392.xml"/><Relationship Id="rId23" Type="http://schemas.openxmlformats.org/officeDocument/2006/relationships/tags" Target="../tags/tag400.xml"/><Relationship Id="rId28" Type="http://schemas.openxmlformats.org/officeDocument/2006/relationships/image" Target="../media/image5.wmf"/><Relationship Id="rId10" Type="http://schemas.openxmlformats.org/officeDocument/2006/relationships/tags" Target="../tags/tag387.xml"/><Relationship Id="rId19" Type="http://schemas.openxmlformats.org/officeDocument/2006/relationships/tags" Target="../tags/tag396.xml"/><Relationship Id="rId4" Type="http://schemas.openxmlformats.org/officeDocument/2006/relationships/slideLayout" Target="../slideLayouts/slideLayout161.xml"/><Relationship Id="rId9" Type="http://schemas.openxmlformats.org/officeDocument/2006/relationships/tags" Target="../tags/tag386.xml"/><Relationship Id="rId14" Type="http://schemas.openxmlformats.org/officeDocument/2006/relationships/tags" Target="../tags/tag391.xml"/><Relationship Id="rId22" Type="http://schemas.openxmlformats.org/officeDocument/2006/relationships/tags" Target="../tags/tag399.x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5.w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17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78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11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185.xml"/><Relationship Id="rId7" Type="http://schemas.openxmlformats.org/officeDocument/2006/relationships/tags" Target="../tags/tag403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3.jpeg"/><Relationship Id="rId5" Type="http://schemas.openxmlformats.org/officeDocument/2006/relationships/theme" Target="../theme/theme2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86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tags" Target="../tags/tag404.xml"/><Relationship Id="rId5" Type="http://schemas.openxmlformats.org/officeDocument/2006/relationships/vmlDrawing" Target="../drawings/vmlDrawing19.vml"/><Relationship Id="rId10" Type="http://schemas.openxmlformats.org/officeDocument/2006/relationships/image" Target="../media/image3.jpeg"/><Relationship Id="rId4" Type="http://schemas.openxmlformats.org/officeDocument/2006/relationships/theme" Target="../theme/theme21.xml"/><Relationship Id="rId9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1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330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jpeg"/><Relationship Id="rId4" Type="http://schemas.openxmlformats.org/officeDocument/2006/relationships/theme" Target="../theme/theme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6.vml"/><Relationship Id="rId18" Type="http://schemas.openxmlformats.org/officeDocument/2006/relationships/image" Target="../media/image5.w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3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3" Type="http://schemas.openxmlformats.org/officeDocument/2006/relationships/slideLayout" Target="../slideLayouts/slideLayout88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theme" Target="../theme/theme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9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9.xml"/><Relationship Id="rId9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5.wmf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9605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246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6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424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485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9750" cy="85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fld id="{4B553441-A85E-4A5F-B6E9-6327667DC3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337"/>
            <a:ext cx="2157413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Source: xxx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286260" y="-47655"/>
            <a:ext cx="1714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FF0000"/>
                </a:solidFill>
              </a:rPr>
              <a:t>PRELIMINARY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060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07231" y="1825625"/>
            <a:ext cx="8872538" cy="228370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4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6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334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34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8" y="6226218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5"/>
            <a:ext cx="949166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822861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5pPr>
      <a:lvl6pPr marL="40635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6pPr>
      <a:lvl7pPr marL="8127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7pPr>
      <a:lvl8pPr marL="121905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8pPr>
      <a:lvl9pPr marL="16254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77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16051" indent="-316051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34">
          <a:solidFill>
            <a:srgbClr val="000000"/>
          </a:solidFill>
          <a:latin typeface="+mn-lt"/>
          <a:ea typeface="+mn-ea"/>
          <a:cs typeface="+mn-cs"/>
        </a:defRPr>
      </a:lvl1pPr>
      <a:lvl2pPr marL="654678" indent="-179190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066">
          <a:solidFill>
            <a:srgbClr val="000000"/>
          </a:solidFill>
          <a:latin typeface="+mn-lt"/>
          <a:cs typeface="+mn-cs"/>
        </a:defRPr>
      </a:lvl2pPr>
      <a:lvl3pPr marL="1055386" indent="-17495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066">
          <a:solidFill>
            <a:srgbClr val="000000"/>
          </a:solidFill>
          <a:latin typeface="+mn-lt"/>
          <a:cs typeface="+mn-cs"/>
        </a:defRPr>
      </a:lvl3pPr>
      <a:lvl4pPr marL="1354505" indent="-129807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066">
          <a:solidFill>
            <a:schemeClr val="tx1"/>
          </a:solidFill>
          <a:latin typeface="+mn-lt"/>
          <a:cs typeface="+mn-cs"/>
        </a:defRPr>
      </a:lvl4pPr>
      <a:lvl5pPr marL="1749570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5pPr>
      <a:lvl6pPr marL="2155921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6pPr>
      <a:lvl7pPr marL="2562273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7pPr>
      <a:lvl8pPr marL="2968625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8pPr>
      <a:lvl9pPr marL="3374977" indent="-79013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066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5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70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55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407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59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111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62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814" algn="l" defTabSz="81270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" t="47" r="310"/>
          <a:stretch>
            <a:fillRect/>
          </a:stretch>
        </p:blipFill>
        <p:spPr bwMode="auto">
          <a:xfrm>
            <a:off x="0" y="0"/>
            <a:ext cx="10287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260" y="6226176"/>
            <a:ext cx="2439591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6"/>
          <p:cNvSpPr txBox="1">
            <a:spLocks noChangeArrowheads="1"/>
          </p:cNvSpPr>
          <p:nvPr/>
        </p:nvSpPr>
        <p:spPr bwMode="auto">
          <a:xfrm>
            <a:off x="8429625" y="711200"/>
            <a:ext cx="104298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08955" y="6388100"/>
            <a:ext cx="642938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3B5D404-5004-4338-9FA9-9A38E4A88B25}" type="slidenum">
              <a:rPr lang="en-US" sz="1400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8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13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2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82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59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9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03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223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23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8223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Line 8"/>
          <p:cNvSpPr>
            <a:spLocks noChangeShapeType="1"/>
          </p:cNvSpPr>
          <p:nvPr/>
        </p:nvSpPr>
        <p:spPr bwMode="auto">
          <a:xfrm>
            <a:off x="428625" y="769100"/>
            <a:ext cx="9429750" cy="0"/>
          </a:xfrm>
          <a:prstGeom prst="line">
            <a:avLst/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000000"/>
              </a:solidFill>
            </a:endParaRPr>
          </a:p>
        </p:txBody>
      </p:sp>
      <p:pic>
        <p:nvPicPr>
          <p:cNvPr id="73" name="Picture 10" descr="fondo02"/>
          <p:cNvPicPr>
            <a:picLocks noChangeAspect="1" noChangeArrowheads="1"/>
          </p:cNvPicPr>
          <p:nvPr/>
        </p:nvPicPr>
        <p:blipFill>
          <a:blip r:embed="rId2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74" name="Picture 11" descr="Logo_Peq0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7858125" y="6345307"/>
            <a:ext cx="2157413" cy="352425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83783" y="2621427"/>
            <a:ext cx="493848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451189"/>
            <a:ext cx="94297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28626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28625" y="816744"/>
            <a:ext cx="942975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83781" y="2013955"/>
            <a:ext cx="489475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McK Slide Elements" hidden="1"/>
          <p:cNvGrpSpPr>
            <a:grpSpLocks/>
          </p:cNvGrpSpPr>
          <p:nvPr/>
        </p:nvGrpSpPr>
        <p:grpSpPr bwMode="auto">
          <a:xfrm>
            <a:off x="428623" y="5813989"/>
            <a:ext cx="9429750" cy="362823"/>
            <a:chOff x="75" y="3926"/>
            <a:chExt cx="564" cy="224"/>
          </a:xfrm>
        </p:grpSpPr>
        <p:sp>
          <p:nvSpPr>
            <p:cNvPr id="2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6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73075" indent="-473075" defTabSz="91342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981840" y="864366"/>
            <a:ext cx="801822" cy="1013962"/>
            <a:chOff x="4936" y="176"/>
            <a:chExt cx="440" cy="626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628310" y="864365"/>
            <a:ext cx="1155352" cy="741845"/>
            <a:chOff x="4750" y="176"/>
            <a:chExt cx="634" cy="458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0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8791478" y="864365"/>
            <a:ext cx="1066894" cy="212366"/>
            <a:chOff x="7811359" y="285750"/>
            <a:chExt cx="929416" cy="208138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811359" y="285750"/>
              <a:ext cx="92941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81135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811359" y="493888"/>
              <a:ext cx="929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8905111" y="864365"/>
            <a:ext cx="877863" cy="1333054"/>
            <a:chOff x="7769225" y="2105025"/>
            <a:chExt cx="764744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4406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1" name="Slide Number"/>
          <p:cNvSpPr txBox="1">
            <a:spLocks/>
          </p:cNvSpPr>
          <p:nvPr/>
        </p:nvSpPr>
        <p:spPr bwMode="auto">
          <a:xfrm>
            <a:off x="9986166" y="603355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b="1" smtClean="0">
                <a:solidFill>
                  <a:srgbClr val="FF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07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3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  <p:sp>
        <p:nvSpPr>
          <p:cNvPr id="2" name="OWLabel"/>
          <p:cNvSpPr/>
          <p:nvPr userDrawn="1"/>
        </p:nvSpPr>
        <p:spPr bwMode="auto">
          <a:xfrm>
            <a:off x="9306161" y="64770"/>
            <a:ext cx="481607" cy="248530"/>
          </a:xfrm>
          <a:prstGeom prst="rect">
            <a:avLst/>
          </a:prstGeom>
          <a:solidFill>
            <a:schemeClr val="lt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43" tIns="46863" rIns="90043" bIns="46863" numCol="1" rtlCol="0" anchor="b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smtClean="0">
                <a:solidFill>
                  <a:srgbClr val="000000"/>
                </a:solidFill>
              </a:rPr>
              <a:t>Draft</a:t>
            </a:r>
            <a:endParaRPr lang="en-US" sz="1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7" descr="fondo02"/>
          <p:cNvPicPr>
            <a:picLocks noChangeAspect="1" noChangeArrowheads="1"/>
          </p:cNvPicPr>
          <p:nvPr/>
        </p:nvPicPr>
        <p:blipFill rotWithShape="1">
          <a:blip r:embed="rId10"/>
          <a:srcRect l="188" r="188"/>
          <a:stretch/>
        </p:blipFill>
        <p:spPr bwMode="auto">
          <a:xfrm>
            <a:off x="-14909" y="-13252"/>
            <a:ext cx="10328148" cy="688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Logo_Peq0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8125" y="6345239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857625" y="3962400"/>
            <a:ext cx="4972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09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</p:sldLayoutIdLst>
  <p:transition spd="slow">
    <p:wip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34" charset="0"/>
          <a:ea typeface="ＭＳ Ｐゴシック"/>
          <a:cs typeface="ＭＳ Ｐゴシック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rgbClr val="FF0000"/>
          </a:solidFill>
          <a:latin typeface="+mn-lt"/>
          <a:ea typeface="+mn-ea"/>
          <a:cs typeface="+mn-cs"/>
        </a:defRPr>
      </a:lvl1pPr>
      <a:lvl2pPr marL="512763" indent="-1682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rgbClr val="999999"/>
          </a:solidFill>
          <a:latin typeface="Arial" pitchFamily="34" charset="0"/>
          <a:ea typeface="+mn-ea"/>
          <a:cs typeface="+mn-cs"/>
        </a:defRPr>
      </a:lvl2pPr>
      <a:lvl3pPr marL="931863" indent="-228600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999999"/>
          </a:solidFill>
          <a:latin typeface="Arial" pitchFamily="34" charset="0"/>
          <a:ea typeface="+mn-ea"/>
          <a:cs typeface="+mn-cs"/>
        </a:defRPr>
      </a:lvl3pPr>
      <a:lvl4pPr marL="13509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rgbClr val="999999"/>
          </a:solidFill>
          <a:latin typeface="Arial" pitchFamily="34" charset="0"/>
          <a:ea typeface="+mn-ea"/>
          <a:cs typeface="+mn-cs"/>
        </a:defRPr>
      </a:lvl4pPr>
      <a:lvl5pPr marL="17700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1000">
          <a:solidFill>
            <a:schemeClr val="tx1"/>
          </a:solidFill>
          <a:latin typeface="Arial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257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81683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4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4028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35855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6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325910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4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2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9" r:id="rId21"/>
    <p:sldLayoutId id="2147483700" r:id="rId22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55719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99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8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4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4513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045" name="think-cell Slide" r:id="rId26" imgW="524" imgH="526" progId="TCLayout.ActiveDocument.1">
                  <p:embed/>
                </p:oleObj>
              </mc:Choice>
              <mc:Fallback>
                <p:oleObj name="think-cell Slide" r:id="rId2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id" hidden="1"/>
          <p:cNvGrpSpPr/>
          <p:nvPr>
            <p:custDataLst>
              <p:tags r:id="rId25"/>
            </p:custDataLst>
          </p:nvPr>
        </p:nvGrpSpPr>
        <p:grpSpPr>
          <a:xfrm>
            <a:off x="542405" y="605119"/>
            <a:ext cx="9202190" cy="5922085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>
                <a:defRPr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>
                <a:buSzPct val="90000"/>
                <a:defRPr/>
              </a:pPr>
              <a:endParaRPr lang="en-US" sz="13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8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0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3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>
                  <a:defRPr/>
                </a:pP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2405" y="1008529"/>
            <a:ext cx="920219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405" y="1952513"/>
            <a:ext cx="9202190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3860" y="6252882"/>
            <a:ext cx="1711383" cy="137160"/>
          </a:xfrm>
          <a:prstGeom prst="rect">
            <a:avLst/>
          </a:prstGeom>
        </p:spPr>
        <p:txBody>
          <a:bodyPr vert="horz" lIns="91429" tIns="45714" rIns="91429" bIns="45714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93"/>
            <a:fld id="{4117D1D1-70E3-4345-9E03-43CE576E7061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914293"/>
              <a:t>7/8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1" name="Slide Number Placeholder 50"/>
          <p:cNvSpPr>
            <a:spLocks noGrp="1"/>
          </p:cNvSpPr>
          <p:nvPr>
            <p:ph type="sldNum" sz="quarter" idx="4"/>
          </p:nvPr>
        </p:nvSpPr>
        <p:spPr>
          <a:xfrm>
            <a:off x="7372676" y="6390043"/>
            <a:ext cx="2399651" cy="365592"/>
          </a:xfrm>
          <a:prstGeom prst="rect">
            <a:avLst/>
          </a:prstGeom>
        </p:spPr>
        <p:txBody>
          <a:bodyPr vert="horz" lIns="82058" tIns="41029" rIns="82058" bIns="41029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914293"/>
            <a:fld id="{00394C5F-48D8-4B88-B63D-0ED59ABE59A4}" type="slidenum">
              <a:rPr lang="en-US" smtClean="0">
                <a:solidFill>
                  <a:srgbClr val="000000"/>
                </a:solidFill>
              </a:rPr>
              <a:pPr defTabSz="91429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01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61" r:id="rId21"/>
  </p:sldLayoutIdLst>
  <p:hf hdr="0" ftr="0"/>
  <p:txStyles>
    <p:titleStyle>
      <a:lvl1pPr algn="l" defTabSz="914293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Wingdings" pitchFamily="2" charset="2"/>
        <a:buNone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10844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Times New Roman" pitchFamily="18" charset="0"/>
        <a:buChar char="•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983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Arial" pitchFamily="34" charset="0"/>
        <a:buChar char="-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23514" marR="0" indent="-206761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◦"/>
        <a:tabLst/>
        <a:defRPr sz="13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0583" marR="0" indent="-205146" algn="l" defTabSz="914608" rtl="0" eaLnBrk="1" fontAlgn="base" latinLnBrk="0" hangingPunct="1">
        <a:lnSpc>
          <a:spcPct val="100000"/>
        </a:lnSpc>
        <a:spcBef>
          <a:spcPts val="0"/>
        </a:spcBef>
        <a:spcAft>
          <a:spcPts val="538"/>
        </a:spcAft>
        <a:buClr>
          <a:srgbClr val="000000"/>
        </a:buClr>
        <a:buSzTx/>
        <a:buFont typeface="Georgia" pitchFamily="18" charset="0"/>
        <a:buChar char="›"/>
        <a:tabLst/>
        <a:defRPr sz="13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992" indent="-206761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983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23514" indent="-205146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0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914293" rtl="0" eaLnBrk="1" latinLnBrk="0" hangingPunct="1">
        <a:lnSpc>
          <a:spcPct val="100000"/>
        </a:lnSpc>
        <a:spcBef>
          <a:spcPts val="0"/>
        </a:spcBef>
        <a:spcAft>
          <a:spcPts val="538"/>
        </a:spcAft>
        <a:buFont typeface="Arial" pitchFamily="34" charset="0"/>
        <a:buNone/>
        <a:defRPr lang="en-GB" sz="10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28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160079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53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81007"/>
            <a:ext cx="9423019" cy="733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8625" y="1381125"/>
            <a:ext cx="9429750" cy="4486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34" name="Picture 10" descr="fondo02"/>
          <p:cNvPicPr>
            <a:picLocks noChangeAspect="1" noChangeArrowheads="1"/>
          </p:cNvPicPr>
          <p:nvPr/>
        </p:nvPicPr>
        <p:blipFill>
          <a:blip r:embed="rId17"/>
          <a:srcRect t="91110"/>
          <a:stretch>
            <a:fillRect/>
          </a:stretch>
        </p:blipFill>
        <p:spPr bwMode="auto">
          <a:xfrm>
            <a:off x="0" y="6248400"/>
            <a:ext cx="10287000" cy="609600"/>
          </a:xfrm>
          <a:prstGeom prst="rect">
            <a:avLst/>
          </a:prstGeom>
          <a:noFill/>
        </p:spPr>
      </p:pic>
      <p:pic>
        <p:nvPicPr>
          <p:cNvPr id="1035" name="Picture 11" descr="Logo_Peq01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858125" y="6345432"/>
            <a:ext cx="2157412" cy="352425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71675" y="6283325"/>
            <a:ext cx="5486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 b="0" i="0" baseline="0">
                <a:solidFill>
                  <a:schemeClr val="bg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u="sng" dirty="0" smtClean="0">
                <a:solidFill>
                  <a:srgbClr val="FFFFFF"/>
                </a:solidFill>
              </a:rPr>
              <a:t>Source: xxx</a:t>
            </a:r>
            <a:endParaRPr lang="en-US" u="sng" dirty="0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858375" y="0"/>
            <a:ext cx="428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  <a:latin typeface="Arial Bold" pitchFamily="-112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4B553441-A85E-4A5F-B6E9-6327667DC369}" type="slidenum">
              <a:rPr lang="en-US" u="sng" smtClean="0"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46300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6000"/>
        </a:lnSpc>
        <a:spcBef>
          <a:spcPct val="0"/>
        </a:spcBef>
        <a:spcAft>
          <a:spcPct val="0"/>
        </a:spcAft>
        <a:defRPr sz="2000" b="1" i="0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old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153988" indent="-153988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61963" indent="-231775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ea typeface="+mn-ea"/>
          <a:cs typeface="+mn-cs"/>
        </a:defRPr>
      </a:lvl2pPr>
      <a:lvl3pPr marL="625475" indent="-163513" algn="l" rtl="0" eaLnBrk="1" fontAlgn="base" hangingPunct="1">
        <a:lnSpc>
          <a:spcPct val="16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2"/>
          </a:solidFill>
          <a:latin typeface="Arial" charset="0"/>
          <a:ea typeface="+mn-ea"/>
          <a:cs typeface="+mn-cs"/>
        </a:defRPr>
      </a:lvl3pPr>
      <a:lvl4pPr marL="741363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2"/>
          </a:solidFill>
          <a:latin typeface="Arial" charset="0"/>
          <a:ea typeface="+mn-ea"/>
          <a:cs typeface="+mn-cs"/>
        </a:defRPr>
      </a:lvl4pPr>
      <a:lvl5pPr marL="857250" indent="-1158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defRPr sz="800">
          <a:solidFill>
            <a:schemeClr val="tx2"/>
          </a:solidFill>
          <a:latin typeface="Arial" charset="0"/>
          <a:ea typeface="+mn-ea"/>
          <a:cs typeface="+mn-cs"/>
        </a:defRPr>
      </a:lvl5pPr>
      <a:lvl6pPr marL="22272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6pPr>
      <a:lvl7pPr marL="26844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7pPr>
      <a:lvl8pPr marL="31416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8pPr>
      <a:lvl9pPr marL="3598863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4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6" name="Picture 2" descr="san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-1588" y="-3175"/>
            <a:ext cx="10290176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2575" y="1196975"/>
            <a:ext cx="9493250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</a:t>
            </a:r>
          </a:p>
        </p:txBody>
      </p:sp>
      <p:sp>
        <p:nvSpPr>
          <p:cNvPr id="9434118" name="Rectangle 6"/>
          <p:cNvSpPr>
            <a:spLocks noChangeArrowheads="1"/>
          </p:cNvSpPr>
          <p:nvPr/>
        </p:nvSpPr>
        <p:spPr bwMode="auto">
          <a:xfrm>
            <a:off x="9113839" y="131763"/>
            <a:ext cx="977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8F42B1F-B43B-41E8-B2FE-5CDACE251FC6}" type="slidenum">
              <a:rPr lang="en-US" sz="1500" b="1" smtClean="0">
                <a:solidFill>
                  <a:srgbClr val="FF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500" b="1" dirty="0">
              <a:solidFill>
                <a:srgbClr val="FF0000"/>
              </a:solidFill>
            </a:endParaRPr>
          </a:p>
        </p:txBody>
      </p:sp>
      <p:pic>
        <p:nvPicPr>
          <p:cNvPr id="113669" name="Picture 7" descr="A-Santander-negativo_RGB [Convertido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89886" y="6226217"/>
            <a:ext cx="2439987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7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82575" y="260354"/>
            <a:ext cx="949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 para editar estilo título patrón</a:t>
            </a:r>
          </a:p>
        </p:txBody>
      </p:sp>
    </p:spTree>
    <p:extLst>
      <p:ext uri="{BB962C8B-B14F-4D97-AF65-F5344CB8AC3E}">
        <p14:creationId xmlns:p14="http://schemas.microsoft.com/office/powerpoint/2010/main" val="291048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55600" indent="-355600" algn="l" rtl="0" eaLnBrk="1" fontAlgn="base" hangingPunct="1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rgbClr val="000000"/>
          </a:solidFill>
          <a:latin typeface="+mn-lt"/>
          <a:ea typeface="+mn-ea"/>
          <a:cs typeface="+mn-cs"/>
        </a:defRPr>
      </a:lvl1pPr>
      <a:lvl2pPr marL="736600" indent="-201613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Char char="•"/>
        <a:defRPr sz="1200">
          <a:solidFill>
            <a:srgbClr val="000000"/>
          </a:solidFill>
          <a:latin typeface="+mn-lt"/>
          <a:cs typeface="+mn-cs"/>
        </a:defRPr>
      </a:lvl2pPr>
      <a:lvl3pPr marL="1187450" indent="-1968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-"/>
        <a:defRPr sz="1200">
          <a:solidFill>
            <a:srgbClr val="000000"/>
          </a:solidFill>
          <a:latin typeface="+mn-lt"/>
          <a:cs typeface="+mn-cs"/>
        </a:defRPr>
      </a:lvl3pPr>
      <a:lvl4pPr marL="1524000" indent="-14605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»"/>
        <a:defRPr sz="1200">
          <a:solidFill>
            <a:schemeClr val="tx1"/>
          </a:solidFill>
          <a:latin typeface="+mn-lt"/>
          <a:cs typeface="+mn-cs"/>
        </a:defRPr>
      </a:lvl4pPr>
      <a:lvl5pPr marL="19685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5pPr>
      <a:lvl6pPr marL="24257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6pPr>
      <a:lvl7pPr marL="28829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7pPr>
      <a:lvl8pPr marL="33401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8pPr>
      <a:lvl9pPr marL="3797300" indent="-88900" algn="l" rtl="0" eaLnBrk="1" fontAlgn="base" hangingPunct="1">
        <a:spcBef>
          <a:spcPct val="60000"/>
        </a:spcBef>
        <a:spcAft>
          <a:spcPct val="0"/>
        </a:spcAft>
        <a:buFont typeface="Arial" charset="0"/>
        <a:buChar char="&gt;"/>
        <a:defRPr sz="12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157914"/>
            <a:ext cx="10287000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1481" y="274639"/>
            <a:ext cx="946404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481" y="838200"/>
            <a:ext cx="946404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9" name="Rectangle 15"/>
          <p:cNvSpPr txBox="1">
            <a:spLocks noChangeArrowheads="1"/>
          </p:cNvSpPr>
          <p:nvPr/>
        </p:nvSpPr>
        <p:spPr>
          <a:xfrm>
            <a:off x="9113645" y="131763"/>
            <a:ext cx="978694" cy="457200"/>
          </a:xfrm>
          <a:prstGeom prst="rect">
            <a:avLst/>
          </a:prstGeom>
        </p:spPr>
        <p:txBody>
          <a:bodyPr lIns="91392" tIns="45696" rIns="91392" bIns="45696"/>
          <a:lstStyle>
            <a:lvl1pPr algn="r">
              <a:defRPr sz="1600">
                <a:solidFill>
                  <a:srgbClr val="FF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C9E113-8C02-474D-854D-3C7A6F29C705}" type="slidenum">
              <a:rPr lang="es-ES_tradnl" sz="160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_tradnl" sz="1600" dirty="0"/>
          </a:p>
        </p:txBody>
      </p:sp>
      <p:pic>
        <p:nvPicPr>
          <p:cNvPr id="1031" name="Picture 8" descr="Logo_Peq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72412" y="6332544"/>
            <a:ext cx="2157413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76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696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391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0875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7832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0" indent="4763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i="1" kern="1200">
          <a:solidFill>
            <a:srgbClr val="A6A6A6"/>
          </a:solidFill>
          <a:latin typeface="Arial" pitchFamily="34" charset="0"/>
          <a:ea typeface="+mn-ea"/>
          <a:cs typeface="Arial" pitchFamily="34" charset="0"/>
        </a:defRPr>
      </a:lvl1pPr>
      <a:lvl2pPr marL="742557" indent="-28559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394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99352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6310" indent="-2284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3267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5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4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0" indent="-228478" algn="l" defTabSz="9139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6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6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2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8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08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07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0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7" Type="http://schemas.openxmlformats.org/officeDocument/2006/relationships/image" Target="../media/image17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7" Type="http://schemas.openxmlformats.org/officeDocument/2006/relationships/image" Target="../media/image17.emf"/><Relationship Id="rId2" Type="http://schemas.openxmlformats.org/officeDocument/2006/relationships/tags" Target="../tags/tag41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15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14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7" Type="http://schemas.openxmlformats.org/officeDocument/2006/relationships/image" Target="../media/image17.emf"/><Relationship Id="rId2" Type="http://schemas.openxmlformats.org/officeDocument/2006/relationships/tags" Target="../tags/tag41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3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Risk Transformation </a:t>
            </a:r>
            <a:r>
              <a:rPr lang="en-US" dirty="0" smtClean="0"/>
              <a:t>- Summary</a:t>
            </a:r>
            <a:endParaRPr lang="en-US" dirty="0"/>
          </a:p>
        </p:txBody>
      </p:sp>
      <p:sp>
        <p:nvSpPr>
          <p:cNvPr id="71" name="Rectangle 70"/>
          <p:cNvSpPr>
            <a:spLocks/>
          </p:cNvSpPr>
          <p:nvPr/>
        </p:nvSpPr>
        <p:spPr bwMode="gray">
          <a:xfrm>
            <a:off x="5376458" y="722748"/>
            <a:ext cx="4726931" cy="268920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3998" tIns="18000" rIns="18000" bIns="45718" rtlCol="0" anchor="ctr">
            <a:noAutofit/>
          </a:bodyPr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5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88" name="Rectangle 87"/>
          <p:cNvSpPr>
            <a:spLocks/>
          </p:cNvSpPr>
          <p:nvPr/>
        </p:nvSpPr>
        <p:spPr bwMode="gray">
          <a:xfrm>
            <a:off x="5404708" y="3478311"/>
            <a:ext cx="4726931" cy="25541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3998" tIns="18000" rIns="18000" bIns="45718" rtlCol="0" anchor="ctr">
            <a:noAutofit/>
          </a:bodyPr>
          <a:lstStyle/>
          <a:p>
            <a:pPr marL="265100" indent="-258751" algn="ctr" defTabSz="952453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5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 bwMode="gray">
          <a:xfrm>
            <a:off x="5466141" y="736801"/>
            <a:ext cx="3704899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Key deliverables</a:t>
            </a:r>
          </a:p>
        </p:txBody>
      </p:sp>
      <p:sp>
        <p:nvSpPr>
          <p:cNvPr id="94" name="TextBox 93"/>
          <p:cNvSpPr txBox="1">
            <a:spLocks/>
          </p:cNvSpPr>
          <p:nvPr/>
        </p:nvSpPr>
        <p:spPr bwMode="gray">
          <a:xfrm>
            <a:off x="5466141" y="3502267"/>
            <a:ext cx="4604064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Key </a:t>
            </a:r>
            <a:r>
              <a:rPr lang="en-US" sz="950" b="1" dirty="0" smtClean="0"/>
              <a:t>dependencies</a:t>
            </a:r>
            <a:endParaRPr lang="en-US" sz="950" b="1" dirty="0"/>
          </a:p>
        </p:txBody>
      </p:sp>
      <p:cxnSp>
        <p:nvCxnSpPr>
          <p:cNvPr id="95" name="Straight Connector 94"/>
          <p:cNvCxnSpPr>
            <a:cxnSpLocks/>
          </p:cNvCxnSpPr>
          <p:nvPr/>
        </p:nvCxnSpPr>
        <p:spPr bwMode="gray">
          <a:xfrm>
            <a:off x="5466141" y="3662977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/>
          <p:cNvCxnSpPr>
            <a:cxnSpLocks/>
          </p:cNvCxnSpPr>
          <p:nvPr/>
        </p:nvCxnSpPr>
        <p:spPr bwMode="gray">
          <a:xfrm>
            <a:off x="5466141" y="894415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7" name="TextBox 96"/>
          <p:cNvSpPr txBox="1">
            <a:spLocks/>
          </p:cNvSpPr>
          <p:nvPr/>
        </p:nvSpPr>
        <p:spPr bwMode="gray">
          <a:xfrm>
            <a:off x="9280907" y="736801"/>
            <a:ext cx="789298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>
              <a:buClr>
                <a:srgbClr val="FF0000"/>
              </a:buClr>
              <a:buFont typeface="Wingdings" pitchFamily="2" charset="2"/>
              <a:buNone/>
            </a:pPr>
            <a:r>
              <a:rPr lang="en-US" sz="950" b="1" dirty="0"/>
              <a:t>Due b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5362" y="722748"/>
            <a:ext cx="5154887" cy="5309753"/>
            <a:chOff x="155362" y="722747"/>
            <a:chExt cx="5154887" cy="3968858"/>
          </a:xfrm>
        </p:grpSpPr>
        <p:sp>
          <p:nvSpPr>
            <p:cNvPr id="83" name="TextBox 4"/>
            <p:cNvSpPr txBox="1"/>
            <p:nvPr>
              <p:custDataLst>
                <p:tags r:id="rId3"/>
              </p:custDataLst>
            </p:nvPr>
          </p:nvSpPr>
          <p:spPr bwMode="gray">
            <a:xfrm>
              <a:off x="155362" y="722747"/>
              <a:ext cx="5154887" cy="1197482"/>
            </a:xfrm>
            <a:prstGeom prst="roundRect">
              <a:avLst>
                <a:gd name="adj" fmla="val 842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endParaRPr lang="en-US" sz="950" dirty="0"/>
            </a:p>
          </p:txBody>
        </p:sp>
        <p:sp>
          <p:nvSpPr>
            <p:cNvPr id="84" name="Rectangle 83"/>
            <p:cNvSpPr>
              <a:spLocks/>
            </p:cNvSpPr>
            <p:nvPr/>
          </p:nvSpPr>
          <p:spPr bwMode="gray">
            <a:xfrm>
              <a:off x="155362" y="1986585"/>
              <a:ext cx="5154887" cy="142537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3998" tIns="18000" rIns="18000" bIns="45718" rtlCol="0" anchor="ctr">
              <a:noAutofit/>
            </a:bodyPr>
            <a:lstStyle/>
            <a:p>
              <a:pPr marL="265100" indent="-258751" algn="ctr" defTabSz="952453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5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sp>
          <p:nvSpPr>
            <p:cNvPr id="85" name="TextBox 84"/>
            <p:cNvSpPr txBox="1">
              <a:spLocks/>
            </p:cNvSpPr>
            <p:nvPr/>
          </p:nvSpPr>
          <p:spPr bwMode="gray">
            <a:xfrm>
              <a:off x="224831" y="2025925"/>
              <a:ext cx="5015949" cy="10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/>
                <a:t>Sub-workstreams in Risk Transformation</a:t>
              </a:r>
            </a:p>
          </p:txBody>
        </p:sp>
        <p:cxnSp>
          <p:nvCxnSpPr>
            <p:cNvPr id="86" name="Straight Connector 85"/>
            <p:cNvCxnSpPr>
              <a:cxnSpLocks/>
            </p:cNvCxnSpPr>
            <p:nvPr/>
          </p:nvCxnSpPr>
          <p:spPr bwMode="gray">
            <a:xfrm>
              <a:off x="224831" y="2147178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7" name="Rectangle 86"/>
            <p:cNvSpPr>
              <a:spLocks/>
            </p:cNvSpPr>
            <p:nvPr/>
          </p:nvSpPr>
          <p:spPr bwMode="gray">
            <a:xfrm>
              <a:off x="155362" y="3478311"/>
              <a:ext cx="5154887" cy="121329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3998" tIns="18000" rIns="18000" bIns="45718" rtlCol="0" anchor="ctr">
              <a:noAutofit/>
            </a:bodyPr>
            <a:lstStyle/>
            <a:p>
              <a:pPr marL="265100" indent="-258751" algn="ctr" defTabSz="952453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5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sp>
          <p:nvSpPr>
            <p:cNvPr id="89" name="TextBox 88"/>
            <p:cNvSpPr txBox="1">
              <a:spLocks/>
            </p:cNvSpPr>
            <p:nvPr/>
          </p:nvSpPr>
          <p:spPr bwMode="gray">
            <a:xfrm>
              <a:off x="224831" y="777261"/>
              <a:ext cx="5015949" cy="105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 smtClean="0"/>
                <a:t>Summary of FRB feedback</a:t>
              </a:r>
            </a:p>
          </p:txBody>
        </p:sp>
        <p:cxnSp>
          <p:nvCxnSpPr>
            <p:cNvPr id="90" name="Straight Connector 89"/>
            <p:cNvCxnSpPr>
              <a:cxnSpLocks/>
            </p:cNvCxnSpPr>
            <p:nvPr/>
          </p:nvCxnSpPr>
          <p:spPr bwMode="gray">
            <a:xfrm>
              <a:off x="224831" y="894415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1" name="TextBox 90"/>
            <p:cNvSpPr txBox="1">
              <a:spLocks/>
            </p:cNvSpPr>
            <p:nvPr/>
          </p:nvSpPr>
          <p:spPr bwMode="gray">
            <a:xfrm>
              <a:off x="224831" y="3539186"/>
              <a:ext cx="5015949" cy="109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0" indent="0">
                <a:buClr>
                  <a:srgbClr val="FF0000"/>
                </a:buClr>
                <a:buFont typeface="Wingdings" pitchFamily="2" charset="2"/>
                <a:buNone/>
              </a:pPr>
              <a:r>
                <a:rPr lang="en-US" sz="950" b="1" dirty="0" smtClean="0"/>
                <a:t>Potential execution risks</a:t>
              </a:r>
              <a:endParaRPr lang="en-US" sz="950" b="1" dirty="0"/>
            </a:p>
          </p:txBody>
        </p:sp>
        <p:cxnSp>
          <p:nvCxnSpPr>
            <p:cNvPr id="92" name="Straight Connector 91"/>
            <p:cNvCxnSpPr>
              <a:cxnSpLocks/>
            </p:cNvCxnSpPr>
            <p:nvPr/>
          </p:nvCxnSpPr>
          <p:spPr bwMode="gray">
            <a:xfrm>
              <a:off x="224831" y="3662977"/>
              <a:ext cx="5015949" cy="0"/>
            </a:xfrm>
            <a:prstGeom prst="line">
              <a:avLst/>
            </a:pr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3" name="TextBox 22"/>
            <p:cNvSpPr txBox="1">
              <a:spLocks/>
            </p:cNvSpPr>
            <p:nvPr/>
          </p:nvSpPr>
          <p:spPr bwMode="gray">
            <a:xfrm>
              <a:off x="224831" y="917933"/>
              <a:ext cx="5015949" cy="721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Risk management framework is not sufficiently developed to provide full subsidiary oversight and support capital adequacy framework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Lack of aligned enterprise-wide and legal entity specific Risk Appetite Statements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Risk </a:t>
              </a:r>
              <a:r>
                <a:rPr lang="en-US" sz="950" dirty="0"/>
                <a:t>identification process does not identify </a:t>
              </a:r>
              <a:r>
                <a:rPr lang="en-US" sz="950" dirty="0" smtClean="0"/>
                <a:t>nor appropriately account for all </a:t>
              </a:r>
              <a:r>
                <a:rPr lang="en-US" sz="950" dirty="0"/>
                <a:t>risks </a:t>
              </a:r>
              <a:r>
                <a:rPr lang="en-US" sz="950" dirty="0" smtClean="0"/>
                <a:t>when </a:t>
              </a:r>
              <a:r>
                <a:rPr lang="en-US" sz="950" dirty="0"/>
                <a:t>assessing capital </a:t>
              </a:r>
              <a:r>
                <a:rPr lang="en-US" sz="950" dirty="0" smtClean="0"/>
                <a:t>needs</a:t>
              </a:r>
            </a:p>
            <a:p>
              <a:pPr marL="171450" indent="-171450">
                <a:spcBef>
                  <a:spcPct val="20000"/>
                </a:spcBef>
                <a:buClrTx/>
              </a:pPr>
              <a:r>
                <a:rPr lang="en-US" sz="950" dirty="0" smtClean="0"/>
                <a:t>Lack of process </a:t>
              </a:r>
              <a:r>
                <a:rPr lang="en-US" sz="950" dirty="0"/>
                <a:t>to consider early warning indicators in the </a:t>
              </a:r>
              <a:r>
                <a:rPr lang="en-US" sz="950" dirty="0" smtClean="0"/>
                <a:t>stress scenarios</a:t>
              </a:r>
              <a:endParaRPr lang="en-US" sz="950" dirty="0"/>
            </a:p>
          </p:txBody>
        </p:sp>
        <p:sp>
          <p:nvSpPr>
            <p:cNvPr id="25" name="TextBox 24"/>
            <p:cNvSpPr txBox="1">
              <a:spLocks/>
            </p:cNvSpPr>
            <p:nvPr/>
          </p:nvSpPr>
          <p:spPr bwMode="gray">
            <a:xfrm>
              <a:off x="224831" y="2172970"/>
              <a:ext cx="5015949" cy="1202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governance and organization:</a:t>
              </a:r>
              <a:r>
                <a:rPr lang="en-US" sz="950" dirty="0" smtClean="0"/>
                <a:t> organizational structure of risk management to enforce the risk appetite statement, and oversight by the SHUSA Boards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appetite:</a:t>
              </a:r>
              <a:r>
                <a:rPr lang="en-US" sz="950" dirty="0" smtClean="0"/>
                <a:t> </a:t>
              </a:r>
              <a:r>
                <a:rPr lang="en-US" sz="950" dirty="0"/>
                <a:t>establish and communicate Board </a:t>
              </a:r>
              <a:r>
                <a:rPr lang="en-US" sz="950" dirty="0" smtClean="0"/>
                <a:t>approved </a:t>
              </a:r>
              <a:r>
                <a:rPr lang="en-US" sz="950" dirty="0"/>
                <a:t>risk appetite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ID &amp; measurement:</a:t>
              </a:r>
              <a:r>
                <a:rPr lang="en-US" sz="950" dirty="0" smtClean="0"/>
                <a:t> </a:t>
              </a:r>
              <a:r>
                <a:rPr lang="en-US" sz="950" dirty="0"/>
                <a:t>tools and processes to quantify the enterprise’s </a:t>
              </a:r>
              <a:r>
                <a:rPr lang="en-US" sz="950" dirty="0" smtClean="0"/>
                <a:t>risks</a:t>
              </a:r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 smtClean="0"/>
                <a:t>Risk </a:t>
              </a:r>
              <a:r>
                <a:rPr lang="en-US" sz="950" b="1" dirty="0"/>
                <a:t>management </a:t>
              </a:r>
              <a:r>
                <a:rPr lang="en-US" sz="950" b="1" dirty="0" smtClean="0"/>
                <a:t>processes:</a:t>
              </a:r>
              <a:r>
                <a:rPr lang="en-US" sz="950" dirty="0" smtClean="0"/>
                <a:t> </a:t>
              </a:r>
              <a:r>
                <a:rPr lang="en-US" sz="950" dirty="0"/>
                <a:t>measurement and management of the enterprise’s </a:t>
              </a:r>
              <a:r>
                <a:rPr lang="en-US" sz="950" dirty="0" smtClean="0"/>
                <a:t>risks and application to strategic business decisions</a:t>
              </a:r>
              <a:endParaRPr lang="en-US" sz="950" dirty="0"/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/>
                <a:t>Risk </a:t>
              </a:r>
              <a:r>
                <a:rPr lang="en-US" sz="950" b="1" dirty="0" smtClean="0"/>
                <a:t>monitoring / Risk reporting:</a:t>
              </a:r>
              <a:r>
                <a:rPr lang="en-US" sz="950" dirty="0" smtClean="0"/>
                <a:t> summarize enterprise’s key risks for internal </a:t>
              </a:r>
              <a:r>
                <a:rPr lang="en-US" sz="950" dirty="0"/>
                <a:t>and external </a:t>
              </a:r>
              <a:r>
                <a:rPr lang="en-US" sz="950" dirty="0" smtClean="0"/>
                <a:t>stakeholders</a:t>
              </a:r>
              <a:endParaRPr lang="en-US" sz="950" dirty="0"/>
            </a:p>
            <a:p>
              <a:pPr marL="228600" indent="-228600">
                <a:spcBef>
                  <a:spcPct val="20000"/>
                </a:spcBef>
                <a:buClrTx/>
                <a:buFont typeface="+mj-lt"/>
                <a:buAutoNum type="alphaUcPeriod"/>
              </a:pPr>
              <a:r>
                <a:rPr lang="en-US" sz="950" b="1" dirty="0"/>
                <a:t>Risk data &amp; </a:t>
              </a:r>
              <a:r>
                <a:rPr lang="en-US" sz="950" b="1" dirty="0" smtClean="0"/>
                <a:t>systems:</a:t>
              </a:r>
              <a:r>
                <a:rPr lang="en-US" sz="950" dirty="0" smtClean="0"/>
                <a:t> IT </a:t>
              </a:r>
              <a:r>
                <a:rPr lang="en-US" sz="950" dirty="0"/>
                <a:t>architecture to support effective risk </a:t>
              </a:r>
              <a:r>
                <a:rPr lang="en-US" sz="950" dirty="0" smtClean="0"/>
                <a:t>management (integration with IT </a:t>
              </a:r>
              <a:r>
                <a:rPr lang="en-US" sz="950" dirty="0" err="1" smtClean="0"/>
                <a:t>workstream</a:t>
              </a:r>
              <a:r>
                <a:rPr lang="en-US" sz="950" dirty="0" smtClean="0"/>
                <a:t> TBC)</a:t>
              </a:r>
              <a:endParaRPr lang="en-US" sz="950" dirty="0"/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 bwMode="gray">
            <a:xfrm>
              <a:off x="224831" y="3684742"/>
              <a:ext cx="5015949" cy="781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 smtClean="0"/>
                <a:t>Limited data </a:t>
              </a:r>
              <a:r>
                <a:rPr lang="en-US" sz="950" dirty="0"/>
                <a:t>availability and data quality across enterprise  </a:t>
              </a:r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 smtClean="0"/>
                <a:t>Management </a:t>
              </a:r>
              <a:r>
                <a:rPr lang="en-US" sz="950" dirty="0"/>
                <a:t>of dependencies and related activities spanning multiple Risk workstreams (e.g. RAS, target operating model, reporting framework and templates) </a:t>
              </a:r>
              <a:endParaRPr lang="en-US" sz="950" dirty="0" smtClean="0"/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/>
                <a:t>Execution risk due to </a:t>
              </a:r>
              <a:r>
                <a:rPr lang="en-US" sz="950" dirty="0" smtClean="0"/>
                <a:t>effective </a:t>
              </a:r>
              <a:r>
                <a:rPr lang="en-US" sz="950" dirty="0"/>
                <a:t>transfer of knowledge and capabilities from external resources / </a:t>
              </a:r>
              <a:r>
                <a:rPr lang="en-US" sz="950" dirty="0" smtClean="0"/>
                <a:t>consultants</a:t>
              </a:r>
              <a:endParaRPr lang="en-US" sz="950" dirty="0"/>
            </a:p>
            <a:p>
              <a:pPr marL="171450" lvl="2" indent="-171450">
                <a:spcBef>
                  <a:spcPct val="5000"/>
                </a:spcBef>
                <a:buFont typeface="Wingdings" panose="05000000000000000000" pitchFamily="2" charset="2"/>
                <a:buChar char="§"/>
              </a:pPr>
              <a:r>
                <a:rPr lang="en-US" sz="950" dirty="0" smtClean="0"/>
                <a:t>Staffing </a:t>
              </a:r>
              <a:r>
                <a:rPr lang="en-US" sz="950" dirty="0"/>
                <a:t>and skills requirements of the Target Operating Model </a:t>
              </a:r>
              <a:r>
                <a:rPr lang="en-US" sz="950" dirty="0" smtClean="0"/>
                <a:t>will be determined during the implementation planning process; significant gaps may </a:t>
              </a:r>
              <a:r>
                <a:rPr lang="en-US" sz="950" dirty="0"/>
                <a:t>a</a:t>
              </a:r>
              <a:r>
                <a:rPr lang="en-US" sz="950" dirty="0" smtClean="0"/>
                <a:t>ffect deliverables in years 2-3</a:t>
              </a:r>
              <a:endParaRPr lang="en-US" sz="950" dirty="0"/>
            </a:p>
          </p:txBody>
        </p:sp>
      </p:grpSp>
      <p:sp>
        <p:nvSpPr>
          <p:cNvPr id="30" name="TextBox 29"/>
          <p:cNvSpPr txBox="1"/>
          <p:nvPr/>
        </p:nvSpPr>
        <p:spPr bwMode="gray">
          <a:xfrm>
            <a:off x="5466141" y="3684742"/>
            <a:ext cx="4558479" cy="2251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Model Development: </a:t>
            </a:r>
            <a:r>
              <a:rPr lang="en-US" sz="950" dirty="0"/>
              <a:t>Development of commercial ratings models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Model Risk Management: </a:t>
            </a:r>
            <a:r>
              <a:rPr lang="en-US" sz="950" dirty="0"/>
              <a:t>Validation of commercial ratings models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Finance: </a:t>
            </a:r>
            <a:endParaRPr lang="en-US" sz="950" b="1" dirty="0" smtClean="0"/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Liquidity Data Mart and tools to support analytics process by second line of defense liquidity risk management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Implementation </a:t>
            </a:r>
            <a:r>
              <a:rPr lang="en-US" sz="950" dirty="0">
                <a:solidFill>
                  <a:srgbClr val="000000"/>
                </a:solidFill>
              </a:rPr>
              <a:t>of the TOM across IHC entities to support LRM Framework implementation including stress testing scenarios and LST calculations (stressed inflows/outflows &gt;90 days, non-maturity deposits</a:t>
            </a:r>
            <a:r>
              <a:rPr lang="en-US" sz="950" dirty="0" smtClean="0">
                <a:solidFill>
                  <a:srgbClr val="000000"/>
                </a:solidFill>
              </a:rPr>
              <a:t>)</a:t>
            </a:r>
            <a:endParaRPr lang="en-US" sz="950" dirty="0">
              <a:solidFill>
                <a:srgbClr val="000000"/>
              </a:solidFill>
            </a:endParaRP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/>
              <a:t>Data &amp; IT</a:t>
            </a:r>
            <a:r>
              <a:rPr lang="en-US" sz="950" dirty="0"/>
              <a:t>: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 smtClean="0">
                <a:solidFill>
                  <a:srgbClr val="000000"/>
                </a:solidFill>
              </a:rPr>
              <a:t>IT </a:t>
            </a:r>
            <a:r>
              <a:rPr lang="en-US" sz="950" dirty="0">
                <a:solidFill>
                  <a:srgbClr val="000000"/>
                </a:solidFill>
              </a:rPr>
              <a:t>development to support Commercial Risk Rating implementation / embedding in relevant processes</a:t>
            </a:r>
          </a:p>
          <a:p>
            <a:pPr marL="508000" lvl="3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rgbClr val="000000"/>
                </a:solidFill>
              </a:rPr>
              <a:t> IT development for RAS, Risk </a:t>
            </a:r>
            <a:r>
              <a:rPr lang="en-US" sz="950" dirty="0" smtClean="0">
                <a:solidFill>
                  <a:srgbClr val="000000"/>
                </a:solidFill>
              </a:rPr>
              <a:t>ID </a:t>
            </a:r>
            <a:r>
              <a:rPr lang="en-US" sz="950" dirty="0">
                <a:solidFill>
                  <a:srgbClr val="000000"/>
                </a:solidFill>
              </a:rPr>
              <a:t>and Risk reporting (pending planned definition of business/data requirements)</a:t>
            </a:r>
          </a:p>
          <a:p>
            <a:pPr marL="171450" lvl="2" indent="-171450">
              <a:spcBef>
                <a:spcPct val="5000"/>
              </a:spcBef>
              <a:buFont typeface="Wingdings" panose="05000000000000000000" pitchFamily="2" charset="2"/>
              <a:buChar char="§"/>
            </a:pPr>
            <a:r>
              <a:rPr lang="en-US" sz="950" b="1" dirty="0" smtClean="0"/>
              <a:t>First </a:t>
            </a:r>
            <a:r>
              <a:rPr lang="en-US" sz="950" b="1" dirty="0"/>
              <a:t>Line: </a:t>
            </a:r>
            <a:r>
              <a:rPr lang="en-US" sz="950" dirty="0"/>
              <a:t>Input to Material Risk Program (business line / segment Material Risk Inventories</a:t>
            </a:r>
            <a:r>
              <a:rPr lang="en-US" sz="950" dirty="0" smtClean="0"/>
              <a:t>)</a:t>
            </a:r>
            <a:endParaRPr lang="en-US" sz="950" dirty="0"/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 bwMode="gray">
          <a:xfrm>
            <a:off x="5447091" y="1050553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>
            <a:cxnSpLocks/>
          </p:cNvCxnSpPr>
          <p:nvPr/>
        </p:nvCxnSpPr>
        <p:spPr bwMode="gray">
          <a:xfrm>
            <a:off x="5447127" y="1217636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>
            <a:cxnSpLocks/>
          </p:cNvCxnSpPr>
          <p:nvPr/>
        </p:nvCxnSpPr>
        <p:spPr bwMode="gray">
          <a:xfrm>
            <a:off x="5453441" y="138068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cxnSpLocks/>
          </p:cNvCxnSpPr>
          <p:nvPr/>
        </p:nvCxnSpPr>
        <p:spPr bwMode="gray">
          <a:xfrm>
            <a:off x="5461492" y="1542219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>
            <a:cxnSpLocks/>
          </p:cNvCxnSpPr>
          <p:nvPr/>
        </p:nvCxnSpPr>
        <p:spPr bwMode="gray">
          <a:xfrm>
            <a:off x="5466141" y="1716010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>
            <a:cxnSpLocks/>
          </p:cNvCxnSpPr>
          <p:nvPr/>
        </p:nvCxnSpPr>
        <p:spPr bwMode="gray">
          <a:xfrm>
            <a:off x="5452584" y="1898591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cxnSpLocks/>
          </p:cNvCxnSpPr>
          <p:nvPr/>
        </p:nvCxnSpPr>
        <p:spPr bwMode="gray">
          <a:xfrm>
            <a:off x="5459791" y="2353460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/>
          <p:cNvCxnSpPr>
            <a:cxnSpLocks/>
          </p:cNvCxnSpPr>
          <p:nvPr/>
        </p:nvCxnSpPr>
        <p:spPr bwMode="gray">
          <a:xfrm>
            <a:off x="5466141" y="2731430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/>
          <p:cNvCxnSpPr>
            <a:cxnSpLocks/>
          </p:cNvCxnSpPr>
          <p:nvPr/>
        </p:nvCxnSpPr>
        <p:spPr bwMode="gray">
          <a:xfrm>
            <a:off x="5466141" y="2913285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cxnSpLocks/>
          </p:cNvCxnSpPr>
          <p:nvPr/>
        </p:nvCxnSpPr>
        <p:spPr bwMode="gray">
          <a:xfrm>
            <a:off x="5466141" y="310485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/>
          <p:cNvCxnSpPr>
            <a:cxnSpLocks/>
          </p:cNvCxnSpPr>
          <p:nvPr/>
        </p:nvCxnSpPr>
        <p:spPr bwMode="gray">
          <a:xfrm>
            <a:off x="5466141" y="342111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3" name="Group 2"/>
          <p:cNvGrpSpPr/>
          <p:nvPr/>
        </p:nvGrpSpPr>
        <p:grpSpPr>
          <a:xfrm>
            <a:off x="5506093" y="1220315"/>
            <a:ext cx="4604064" cy="146194"/>
            <a:chOff x="5466141" y="917933"/>
            <a:chExt cx="4604064" cy="146194"/>
          </a:xfrm>
        </p:grpSpPr>
        <p:sp>
          <p:nvSpPr>
            <p:cNvPr id="133" name="TextBox 132"/>
            <p:cNvSpPr txBox="1">
              <a:spLocks/>
            </p:cNvSpPr>
            <p:nvPr/>
          </p:nvSpPr>
          <p:spPr bwMode="gray">
            <a:xfrm>
              <a:off x="9280907" y="91793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11/02/15</a:t>
              </a:r>
            </a:p>
          </p:txBody>
        </p:sp>
        <p:sp>
          <p:nvSpPr>
            <p:cNvPr id="134" name="TextBox 133"/>
            <p:cNvSpPr txBox="1">
              <a:spLocks/>
            </p:cNvSpPr>
            <p:nvPr/>
          </p:nvSpPr>
          <p:spPr bwMode="gray">
            <a:xfrm>
              <a:off x="5466141" y="91793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SHUSA Top-level RAS </a:t>
              </a:r>
              <a:r>
                <a:rPr lang="en-US" sz="950" dirty="0"/>
                <a:t>d</a:t>
              </a:r>
              <a:r>
                <a:rPr lang="en-US" sz="950" dirty="0" smtClean="0"/>
                <a:t>esign and approval</a:t>
              </a:r>
              <a:endParaRPr lang="en-US" sz="950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496858" y="2063851"/>
            <a:ext cx="4604064" cy="292388"/>
            <a:chOff x="5466141" y="993879"/>
            <a:chExt cx="4604064" cy="292388"/>
          </a:xfrm>
        </p:grpSpPr>
        <p:sp>
          <p:nvSpPr>
            <p:cNvPr id="131" name="TextBox 130"/>
            <p:cNvSpPr txBox="1">
              <a:spLocks/>
            </p:cNvSpPr>
            <p:nvPr/>
          </p:nvSpPr>
          <p:spPr bwMode="gray">
            <a:xfrm>
              <a:off x="9280907" y="1053259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01/12/16</a:t>
              </a:r>
            </a:p>
          </p:txBody>
        </p:sp>
        <p:sp>
          <p:nvSpPr>
            <p:cNvPr id="132" name="TextBox 131"/>
            <p:cNvSpPr txBox="1">
              <a:spLocks/>
            </p:cNvSpPr>
            <p:nvPr/>
          </p:nvSpPr>
          <p:spPr bwMode="gray">
            <a:xfrm>
              <a:off x="5466141" y="993879"/>
              <a:ext cx="3704899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Initial embedding of top-level RAS </a:t>
              </a:r>
              <a:r>
                <a:rPr lang="en-US" sz="950" dirty="0"/>
                <a:t>in material </a:t>
              </a:r>
              <a:r>
                <a:rPr lang="en-US" sz="950" dirty="0" smtClean="0"/>
                <a:t>SHUSA processes and plan further embedding across </a:t>
              </a:r>
              <a:r>
                <a:rPr lang="en-US" sz="950" dirty="0"/>
                <a:t>the enterpris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506093" y="1554379"/>
            <a:ext cx="4604064" cy="146194"/>
            <a:chOff x="5466141" y="1361207"/>
            <a:chExt cx="4604064" cy="146194"/>
          </a:xfrm>
        </p:grpSpPr>
        <p:sp>
          <p:nvSpPr>
            <p:cNvPr id="129" name="TextBox 128"/>
            <p:cNvSpPr txBox="1">
              <a:spLocks/>
            </p:cNvSpPr>
            <p:nvPr/>
          </p:nvSpPr>
          <p:spPr bwMode="gray">
            <a:xfrm>
              <a:off x="9280907" y="136120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12/10/15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TextBox 129"/>
            <p:cNvSpPr txBox="1">
              <a:spLocks/>
            </p:cNvSpPr>
            <p:nvPr/>
          </p:nvSpPr>
          <p:spPr bwMode="gray">
            <a:xfrm>
              <a:off x="5466141" y="136120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Develop and execute Material Risk Program</a:t>
              </a:r>
              <a:endParaRPr lang="en-US" sz="95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02709" y="894530"/>
            <a:ext cx="4604064" cy="146194"/>
            <a:chOff x="5466141" y="1526223"/>
            <a:chExt cx="4604064" cy="146194"/>
          </a:xfrm>
        </p:grpSpPr>
        <p:sp>
          <p:nvSpPr>
            <p:cNvPr id="127" name="TextBox 126"/>
            <p:cNvSpPr txBox="1">
              <a:spLocks/>
            </p:cNvSpPr>
            <p:nvPr/>
          </p:nvSpPr>
          <p:spPr bwMode="gray">
            <a:xfrm>
              <a:off x="9280907" y="152622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08/14/15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8" name="TextBox 127"/>
            <p:cNvSpPr txBox="1">
              <a:spLocks/>
            </p:cNvSpPr>
            <p:nvPr/>
          </p:nvSpPr>
          <p:spPr bwMode="gray">
            <a:xfrm>
              <a:off x="5466141" y="152622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/>
                <a:t>Strengthen the structure of risk </a:t>
              </a:r>
              <a:r>
                <a:rPr lang="en-US" sz="950" dirty="0" smtClean="0"/>
                <a:t>leadership</a:t>
              </a:r>
              <a:endParaRPr lang="en-US" sz="95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496858" y="2935210"/>
            <a:ext cx="4604064" cy="146194"/>
            <a:chOff x="5466141" y="1969497"/>
            <a:chExt cx="4604064" cy="146194"/>
          </a:xfrm>
        </p:grpSpPr>
        <p:sp>
          <p:nvSpPr>
            <p:cNvPr id="123" name="TextBox 122"/>
            <p:cNvSpPr txBox="1">
              <a:spLocks/>
            </p:cNvSpPr>
            <p:nvPr/>
          </p:nvSpPr>
          <p:spPr bwMode="gray">
            <a:xfrm>
              <a:off x="9280907" y="196949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09/30/16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TextBox 123"/>
            <p:cNvSpPr txBox="1">
              <a:spLocks/>
            </p:cNvSpPr>
            <p:nvPr/>
          </p:nvSpPr>
          <p:spPr bwMode="gray">
            <a:xfrm>
              <a:off x="5466141" y="196949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Assess Risk Culture and define enhancement objectives</a:t>
              </a:r>
              <a:endParaRPr lang="en-US" sz="95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506093" y="1383377"/>
            <a:ext cx="4604064" cy="146194"/>
            <a:chOff x="5466141" y="2134513"/>
            <a:chExt cx="4604064" cy="146194"/>
          </a:xfrm>
        </p:grpSpPr>
        <p:sp>
          <p:nvSpPr>
            <p:cNvPr id="121" name="TextBox 120"/>
            <p:cNvSpPr txBox="1">
              <a:spLocks/>
            </p:cNvSpPr>
            <p:nvPr/>
          </p:nvSpPr>
          <p:spPr bwMode="gray">
            <a:xfrm>
              <a:off x="9280907" y="213451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11/20/15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2" name="TextBox 121"/>
            <p:cNvSpPr txBox="1">
              <a:spLocks/>
            </p:cNvSpPr>
            <p:nvPr/>
          </p:nvSpPr>
          <p:spPr bwMode="gray">
            <a:xfrm>
              <a:off x="5466141" y="213451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/>
                <a:t>Strengthen Board and Management committee </a:t>
              </a:r>
              <a:r>
                <a:rPr lang="en-US" sz="950" dirty="0" smtClean="0"/>
                <a:t>oversight</a:t>
              </a:r>
              <a:endParaRPr lang="en-US" sz="95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496858" y="3116158"/>
            <a:ext cx="4604064" cy="146194"/>
            <a:chOff x="5466141" y="2577787"/>
            <a:chExt cx="4604064" cy="146194"/>
          </a:xfrm>
        </p:grpSpPr>
        <p:sp>
          <p:nvSpPr>
            <p:cNvPr id="117" name="TextBox 116"/>
            <p:cNvSpPr txBox="1">
              <a:spLocks/>
            </p:cNvSpPr>
            <p:nvPr/>
          </p:nvSpPr>
          <p:spPr bwMode="gray">
            <a:xfrm>
              <a:off x="9280907" y="257778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TBD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8" name="TextBox 117"/>
            <p:cNvSpPr txBox="1">
              <a:spLocks/>
            </p:cNvSpPr>
            <p:nvPr/>
          </p:nvSpPr>
          <p:spPr bwMode="gray">
            <a:xfrm>
              <a:off x="5466141" y="257778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Implement </a:t>
              </a:r>
              <a:r>
                <a:rPr lang="en-US" sz="950" dirty="0"/>
                <a:t>Target Operating Model for each Risk Type / Function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496858" y="2742978"/>
            <a:ext cx="4604064" cy="152544"/>
            <a:chOff x="5466141" y="2722695"/>
            <a:chExt cx="4604064" cy="152544"/>
          </a:xfrm>
        </p:grpSpPr>
        <p:sp>
          <p:nvSpPr>
            <p:cNvPr id="116" name="TextBox 115"/>
            <p:cNvSpPr txBox="1">
              <a:spLocks/>
            </p:cNvSpPr>
            <p:nvPr/>
          </p:nvSpPr>
          <p:spPr bwMode="gray">
            <a:xfrm>
              <a:off x="5466141" y="2729045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/>
                <a:t>Roll out new commercial risk ratings for CRE and C&amp;I</a:t>
              </a:r>
              <a:endParaRPr lang="en-US" sz="950" dirty="0"/>
            </a:p>
          </p:txBody>
        </p:sp>
        <p:sp>
          <p:nvSpPr>
            <p:cNvPr id="115" name="TextBox 114"/>
            <p:cNvSpPr txBox="1">
              <a:spLocks/>
            </p:cNvSpPr>
            <p:nvPr/>
          </p:nvSpPr>
          <p:spPr bwMode="gray">
            <a:xfrm>
              <a:off x="9280907" y="2722695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06/10/16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506093" y="1062206"/>
            <a:ext cx="4604064" cy="146194"/>
            <a:chOff x="5466141" y="3021061"/>
            <a:chExt cx="4604064" cy="146194"/>
          </a:xfrm>
        </p:grpSpPr>
        <p:sp>
          <p:nvSpPr>
            <p:cNvPr id="113" name="TextBox 112"/>
            <p:cNvSpPr txBox="1">
              <a:spLocks/>
            </p:cNvSpPr>
            <p:nvPr/>
          </p:nvSpPr>
          <p:spPr bwMode="gray">
            <a:xfrm>
              <a:off x="9280907" y="3021061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09/07/15</a:t>
              </a:r>
            </a:p>
          </p:txBody>
        </p:sp>
        <p:sp>
          <p:nvSpPr>
            <p:cNvPr id="114" name="TextBox 113"/>
            <p:cNvSpPr txBox="1">
              <a:spLocks/>
            </p:cNvSpPr>
            <p:nvPr/>
          </p:nvSpPr>
          <p:spPr bwMode="gray">
            <a:xfrm>
              <a:off x="5466141" y="3021061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/>
                <a:t>Define </a:t>
              </a:r>
              <a:r>
                <a:rPr lang="en-US" sz="950" dirty="0"/>
                <a:t>target risk reporting </a:t>
              </a:r>
              <a:r>
                <a:rPr lang="en-US" sz="950" dirty="0" smtClean="0"/>
                <a:t>landscape and scope of remediation</a:t>
              </a:r>
              <a:endParaRPr lang="en-US" sz="950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496858" y="2562085"/>
            <a:ext cx="4604064" cy="146194"/>
            <a:chOff x="5466141" y="3186082"/>
            <a:chExt cx="4604064" cy="146194"/>
          </a:xfrm>
        </p:grpSpPr>
        <p:sp>
          <p:nvSpPr>
            <p:cNvPr id="111" name="TextBox 110"/>
            <p:cNvSpPr txBox="1">
              <a:spLocks/>
            </p:cNvSpPr>
            <p:nvPr/>
          </p:nvSpPr>
          <p:spPr bwMode="gray">
            <a:xfrm>
              <a:off x="9280907" y="3186082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>
                  <a:solidFill>
                    <a:srgbClr val="000000"/>
                  </a:solidFill>
                  <a:latin typeface="Arial"/>
                </a:rPr>
                <a:t>04/01/16</a:t>
              </a:r>
            </a:p>
          </p:txBody>
        </p:sp>
        <p:sp>
          <p:nvSpPr>
            <p:cNvPr id="112" name="TextBox 111"/>
            <p:cNvSpPr txBox="1">
              <a:spLocks/>
            </p:cNvSpPr>
            <p:nvPr/>
          </p:nvSpPr>
          <p:spPr bwMode="gray">
            <a:xfrm>
              <a:off x="5466141" y="3186082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/>
                <a:t>Implement enhancements in SHUSA’s Risk reporting</a:t>
              </a:r>
              <a:endParaRPr lang="en-US" sz="950" dirty="0"/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5504105" y="1736537"/>
            <a:ext cx="4604064" cy="146194"/>
            <a:chOff x="5466141" y="917933"/>
            <a:chExt cx="4604064" cy="146194"/>
          </a:xfrm>
        </p:grpSpPr>
        <p:sp>
          <p:nvSpPr>
            <p:cNvPr id="99" name="TextBox 98"/>
            <p:cNvSpPr txBox="1">
              <a:spLocks/>
            </p:cNvSpPr>
            <p:nvPr/>
          </p:nvSpPr>
          <p:spPr bwMode="gray">
            <a:xfrm>
              <a:off x="9280907" y="91793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12/31/15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TextBox 99"/>
            <p:cNvSpPr txBox="1">
              <a:spLocks/>
            </p:cNvSpPr>
            <p:nvPr/>
          </p:nvSpPr>
          <p:spPr bwMode="gray">
            <a:xfrm>
              <a:off x="5466141" y="91793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 smtClean="0"/>
                <a:t>SBNA &amp; SCUSA RAS </a:t>
              </a:r>
              <a:r>
                <a:rPr lang="en-US" sz="950" dirty="0"/>
                <a:t>d</a:t>
              </a:r>
              <a:r>
                <a:rPr lang="en-US" sz="950" dirty="0" smtClean="0"/>
                <a:t>esign and approval</a:t>
              </a:r>
              <a:endParaRPr lang="en-US" sz="950" dirty="0"/>
            </a:p>
          </p:txBody>
        </p:sp>
      </p:grpSp>
      <p:cxnSp>
        <p:nvCxnSpPr>
          <p:cNvPr id="101" name="Straight Connector 100"/>
          <p:cNvCxnSpPr>
            <a:cxnSpLocks/>
          </p:cNvCxnSpPr>
          <p:nvPr/>
        </p:nvCxnSpPr>
        <p:spPr bwMode="gray">
          <a:xfrm>
            <a:off x="5466141" y="2540930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02" name="Group 101"/>
          <p:cNvGrpSpPr/>
          <p:nvPr/>
        </p:nvGrpSpPr>
        <p:grpSpPr>
          <a:xfrm>
            <a:off x="5496858" y="2371585"/>
            <a:ext cx="4604064" cy="146194"/>
            <a:chOff x="5466141" y="3186082"/>
            <a:chExt cx="4604064" cy="146194"/>
          </a:xfrm>
        </p:grpSpPr>
        <p:sp>
          <p:nvSpPr>
            <p:cNvPr id="103" name="TextBox 102"/>
            <p:cNvSpPr txBox="1">
              <a:spLocks/>
            </p:cNvSpPr>
            <p:nvPr/>
          </p:nvSpPr>
          <p:spPr bwMode="gray">
            <a:xfrm>
              <a:off x="9280907" y="3186082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03/18/16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TextBox 103"/>
            <p:cNvSpPr txBox="1">
              <a:spLocks/>
            </p:cNvSpPr>
            <p:nvPr/>
          </p:nvSpPr>
          <p:spPr bwMode="gray">
            <a:xfrm>
              <a:off x="5466141" y="3186082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lvl="2" indent="-171450" fontAlgn="ctr">
                <a:spcBef>
                  <a:spcPts val="0"/>
                </a:spcBef>
                <a:buFont typeface="Wingdings" pitchFamily="2" charset="2"/>
                <a:buChar char="§"/>
              </a:pPr>
              <a:r>
                <a:rPr lang="en-US" sz="950" dirty="0" smtClean="0"/>
                <a:t>Target </a:t>
              </a:r>
              <a:r>
                <a:rPr lang="en-US" sz="950" dirty="0"/>
                <a:t>Operating Model </a:t>
              </a:r>
              <a:r>
                <a:rPr lang="en-US" sz="950" dirty="0" smtClean="0"/>
                <a:t>design and implementation planning</a:t>
              </a:r>
              <a:endParaRPr lang="en-US" sz="950" dirty="0"/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496858" y="3268558"/>
            <a:ext cx="4604064" cy="146194"/>
            <a:chOff x="5466141" y="2577787"/>
            <a:chExt cx="4604064" cy="146194"/>
          </a:xfrm>
        </p:grpSpPr>
        <p:sp>
          <p:nvSpPr>
            <p:cNvPr id="106" name="TextBox 105"/>
            <p:cNvSpPr txBox="1">
              <a:spLocks/>
            </p:cNvSpPr>
            <p:nvPr/>
          </p:nvSpPr>
          <p:spPr bwMode="gray">
            <a:xfrm>
              <a:off x="9280907" y="2577787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TBD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TextBox 106"/>
            <p:cNvSpPr txBox="1">
              <a:spLocks/>
            </p:cNvSpPr>
            <p:nvPr/>
          </p:nvSpPr>
          <p:spPr bwMode="gray">
            <a:xfrm>
              <a:off x="5466141" y="2577787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/>
                <a:t>Design and roll-out foundational Risk ID </a:t>
              </a:r>
              <a:r>
                <a:rPr lang="en-US" sz="950" dirty="0" smtClean="0"/>
                <a:t>processes</a:t>
              </a:r>
              <a:endParaRPr lang="en-US" sz="950" dirty="0"/>
            </a:p>
          </p:txBody>
        </p:sp>
      </p:grpSp>
      <p:cxnSp>
        <p:nvCxnSpPr>
          <p:cNvPr id="108" name="Straight Connector 107"/>
          <p:cNvCxnSpPr>
            <a:cxnSpLocks/>
          </p:cNvCxnSpPr>
          <p:nvPr/>
        </p:nvCxnSpPr>
        <p:spPr bwMode="gray">
          <a:xfrm>
            <a:off x="5478841" y="3269954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09" name="Group 108"/>
          <p:cNvGrpSpPr/>
          <p:nvPr/>
        </p:nvGrpSpPr>
        <p:grpSpPr>
          <a:xfrm>
            <a:off x="5500481" y="1910607"/>
            <a:ext cx="4604064" cy="146194"/>
            <a:chOff x="5466141" y="917933"/>
            <a:chExt cx="4604064" cy="146194"/>
          </a:xfrm>
        </p:grpSpPr>
        <p:sp>
          <p:nvSpPr>
            <p:cNvPr id="110" name="TextBox 109"/>
            <p:cNvSpPr txBox="1">
              <a:spLocks/>
            </p:cNvSpPr>
            <p:nvPr/>
          </p:nvSpPr>
          <p:spPr bwMode="gray">
            <a:xfrm>
              <a:off x="9280907" y="917933"/>
              <a:ext cx="789298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lvl="0" indent="0" fontAlgn="base"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None/>
                <a:defRPr sz="950" b="1">
                  <a:solidFill>
                    <a:schemeClr val="accent1"/>
                  </a:solidFill>
                  <a:latin typeface="Calibri" panose="020F0502020204030204" pitchFamily="34" charset="0"/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>
                <a:buClr>
                  <a:srgbClr val="FF0000"/>
                </a:buClr>
              </a:pPr>
              <a:r>
                <a:rPr lang="en-US" b="0" dirty="0" smtClean="0">
                  <a:solidFill>
                    <a:srgbClr val="000000"/>
                  </a:solidFill>
                  <a:latin typeface="Arial"/>
                </a:rPr>
                <a:t>1/8/16</a:t>
              </a:r>
              <a:endParaRPr lang="en-US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9" name="TextBox 118"/>
            <p:cNvSpPr txBox="1">
              <a:spLocks/>
            </p:cNvSpPr>
            <p:nvPr/>
          </p:nvSpPr>
          <p:spPr bwMode="gray">
            <a:xfrm>
              <a:off x="5466141" y="917933"/>
              <a:ext cx="3704899" cy="146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55600" lvl="0" indent="-355600" fontAlgn="base">
                <a:spcBef>
                  <a:spcPct val="6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rgbClr val="000000"/>
                  </a:solidFill>
                </a:defRPr>
              </a:lvl1pPr>
              <a:lvl2pPr marL="736600" indent="-201613" fontAlgn="base">
                <a:spcBef>
                  <a:spcPct val="60000"/>
                </a:spcBef>
                <a:spcAft>
                  <a:spcPct val="0"/>
                </a:spcAft>
                <a:buClr>
                  <a:schemeClr val="bg2"/>
                </a:buClr>
                <a:buChar char="•"/>
                <a:defRPr sz="1200">
                  <a:solidFill>
                    <a:srgbClr val="000000"/>
                  </a:solidFill>
                </a:defRPr>
              </a:lvl2pPr>
              <a:lvl3pPr marL="1187450" indent="-1968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-"/>
                <a:defRPr sz="1200">
                  <a:solidFill>
                    <a:srgbClr val="000000"/>
                  </a:solidFill>
                </a:defRPr>
              </a:lvl3pPr>
              <a:lvl4pPr marL="1524000" indent="-14605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»"/>
                <a:defRPr sz="1200"/>
              </a:lvl4pPr>
              <a:lvl5pPr marL="19685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5pPr>
              <a:lvl6pPr marL="24257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6pPr>
              <a:lvl7pPr marL="28829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7pPr>
              <a:lvl8pPr marL="33401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8pPr>
              <a:lvl9pPr marL="3797300" indent="-88900" fontAlgn="base">
                <a:spcBef>
                  <a:spcPct val="60000"/>
                </a:spcBef>
                <a:spcAft>
                  <a:spcPct val="0"/>
                </a:spcAft>
                <a:buFont typeface="Arial" charset="0"/>
                <a:buChar char="&gt;"/>
                <a:defRPr sz="1200">
                  <a:solidFill>
                    <a:srgbClr val="000000"/>
                  </a:solidFill>
                </a:defRPr>
              </a:lvl9pPr>
            </a:lstStyle>
            <a:p>
              <a:pPr marL="171450" indent="-171450" fontAlgn="ctr">
                <a:spcBef>
                  <a:spcPts val="0"/>
                </a:spcBef>
                <a:buClrTx/>
              </a:pPr>
              <a:r>
                <a:rPr lang="en-US" sz="950" dirty="0"/>
                <a:t>Enhanced Top-level risk </a:t>
              </a:r>
              <a:r>
                <a:rPr lang="en-US" sz="950" dirty="0" smtClean="0"/>
                <a:t>policies and 3 LOD articulation </a:t>
              </a:r>
              <a:endParaRPr lang="en-US" sz="950" dirty="0"/>
            </a:p>
          </p:txBody>
        </p:sp>
      </p:grpSp>
      <p:cxnSp>
        <p:nvCxnSpPr>
          <p:cNvPr id="120" name="Straight Connector 119"/>
          <p:cNvCxnSpPr>
            <a:cxnSpLocks/>
          </p:cNvCxnSpPr>
          <p:nvPr/>
        </p:nvCxnSpPr>
        <p:spPr bwMode="gray">
          <a:xfrm>
            <a:off x="5453294" y="2068327"/>
            <a:ext cx="4604064" cy="0"/>
          </a:xfrm>
          <a:prstGeom prst="line">
            <a:avLst/>
          </a:prstGeom>
          <a:noFill/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8870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609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27663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 smtClean="0">
                <a:solidFill>
                  <a:schemeClr val="bg1"/>
                </a:solidFill>
              </a:rPr>
              <a:t>Risk Governance &amp; Organization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891569"/>
              </p:ext>
            </p:extLst>
          </p:nvPr>
        </p:nvGraphicFramePr>
        <p:xfrm>
          <a:off x="1028699" y="687126"/>
          <a:ext cx="9056447" cy="5391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6496"/>
                <a:gridCol w="843148"/>
                <a:gridCol w="878774"/>
                <a:gridCol w="1238029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liverables/mileston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trengthen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oard and Management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ommittee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o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versight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0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Gunn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iagnostic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f Risk Mgmt. Committee effectiven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7/31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nduct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raining for Boar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8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view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d redesign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overnance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d coordination mechanisms between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USA / Group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8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8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7242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finition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f composition / mandates / charters for BERC and Level 1 Risk Committees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8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0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finition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f composition / mandates / charters for Level 2 Risk Committees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9/2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1/2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trengthen the </a:t>
                      </a:r>
                      <a:r>
                        <a:rPr lang="en-US" sz="10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tructure of risk leadership (SHUSA and subsidiary CROs, Risk Control Officers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          </a:t>
                      </a:r>
                      <a:r>
                        <a:rPr lang="en-US" sz="8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s : Combined into Strengthen Board and </a:t>
                      </a:r>
                      <a:r>
                        <a:rPr lang="en-US" sz="800" b="1" u="sng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gmt</a:t>
                      </a:r>
                      <a:r>
                        <a:rPr lang="en-US" sz="8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mmittee Oversight in SG version</a:t>
                      </a:r>
                      <a:endParaRPr lang="en-US" sz="8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Gunn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hanced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Top-level risk policies (“Frameworks” for each risk type/function) with clear articulation of three lines of defense roles and responsibilities , clear distribution between SHUSA and subsidiaries 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8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Gunn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sign and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implement o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ating model/organizational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structure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aligned with 3LoD principles by risk type/functio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3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B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Gunn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marR="0" lvl="1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termine operating model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/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rganizational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structure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sign sequence by risk type/func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7/1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25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ype / Function  A&amp;B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(Most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ikely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dit, ERM +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AS + Strategic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7/27/2015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0/2/2015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ormalized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group org. structure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d corresponding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alent assessment (including resource requirements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/ target headcount)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7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8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tion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lanning, specification of interrelationship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0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ype /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unction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 C&amp;D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(Most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ikely Market &amp;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iquidity, Compliance)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0/19/2015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2/25/2015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ype /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unction  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&amp;F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ost likely Risk Management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nformation, Capital Risk)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/11/2016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3/18/2016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tion of Target Operating Model for each Risk Type / Function </a:t>
                      </a:r>
                      <a:r>
                        <a:rPr lang="en-US" sz="1000" b="0" i="0" u="none" strike="noStrike" kern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10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TBD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ost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ation Review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nducted </a:t>
                      </a:r>
                      <a:r>
                        <a:rPr lang="en-US" sz="1000" b="0" i="0" u="none" strike="noStrike" kern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endParaRPr lang="en-US" sz="1000" b="0" i="0" u="none" strike="noStrike" kern="1200" baseline="300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TBD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TBD</a:t>
                      </a:r>
                      <a:endParaRPr lang="en-US" sz="1000" b="0" i="0" u="none" strike="noStrike" dirty="0">
                        <a:solidFill>
                          <a:srgbClr val="7F7F7F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rticulation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of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trong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d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sired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sk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ulture based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on senior management input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21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/6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Gunn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ollout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 Assessment and Compensation Frameworks across the Organiza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2/2017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 Gunn</a:t>
                      </a: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mmunication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d training for organizational changes related to 3 LOD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/201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2/2017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 Gunn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sign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cruitment and retention mechanism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/1/201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4/2017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 Gunn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ssess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Culture across the Organization and define multi year plan to achieve a sound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ultur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/1/201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 rtl="0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/30/201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. Gunn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144" marR="9144" marT="914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McK 4.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063943"/>
            <a:ext cx="1002246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800" dirty="0" smtClean="0">
                <a:solidFill>
                  <a:srgbClr val="000000"/>
                </a:solidFill>
                <a:latin typeface="Arial"/>
              </a:rPr>
              <a:t>1 – Note: Dates dependent on the implementation plans to be developed as a prior step.</a:t>
            </a: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15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</a:t>
            </a:r>
            <a:r>
              <a:rPr lang="en-GB" dirty="0"/>
              <a:t>1</a:t>
            </a:r>
            <a:r>
              <a:rPr lang="en-GB" dirty="0" smtClean="0"/>
              <a:t>/5)</a:t>
            </a:r>
            <a:endParaRPr lang="en-US" dirty="0"/>
          </a:p>
        </p:txBody>
      </p:sp>
      <p:sp>
        <p:nvSpPr>
          <p:cNvPr id="10" name="Right Arrow 9"/>
          <p:cNvSpPr/>
          <p:nvPr/>
        </p:nvSpPr>
        <p:spPr bwMode="auto">
          <a:xfrm rot="10800000">
            <a:off x="6093673" y="212430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55464" y="1272935"/>
            <a:ext cx="23081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Meaning                                  difference (1)</a:t>
            </a:r>
          </a:p>
        </p:txBody>
      </p:sp>
      <p:sp>
        <p:nvSpPr>
          <p:cNvPr id="14" name="Right Arrow 13"/>
          <p:cNvSpPr/>
          <p:nvPr/>
        </p:nvSpPr>
        <p:spPr bwMode="auto">
          <a:xfrm rot="10800000">
            <a:off x="6211569" y="139764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 rot="10800000">
            <a:off x="5844503" y="5043532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975459" y="4934214"/>
            <a:ext cx="1842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</a:t>
            </a:r>
            <a:r>
              <a:rPr lang="en-US" sz="800" b="1" u="sng" dirty="0" err="1" smtClean="0"/>
              <a:t>Splited</a:t>
            </a:r>
            <a:r>
              <a:rPr lang="en-US" sz="800" b="1" u="sng" dirty="0" smtClean="0"/>
              <a:t> from “Rollout…Org.” (3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67374" y="1611489"/>
            <a:ext cx="23081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smtClean="0"/>
              <a:t>Notes: Combined two items in v1 into</a:t>
            </a:r>
          </a:p>
          <a:p>
            <a:r>
              <a:rPr lang="en-US" sz="800" b="1" u="sng" dirty="0" smtClean="0"/>
              <a:t> one item in SG (2) </a:t>
            </a:r>
            <a:endParaRPr lang="en-US" sz="800" b="1" u="sng" dirty="0"/>
          </a:p>
        </p:txBody>
      </p:sp>
      <p:sp>
        <p:nvSpPr>
          <p:cNvPr id="21" name="Right Arrow 20"/>
          <p:cNvSpPr/>
          <p:nvPr/>
        </p:nvSpPr>
        <p:spPr bwMode="auto">
          <a:xfrm rot="10800000">
            <a:off x="5651966" y="1743206"/>
            <a:ext cx="177553" cy="119917"/>
          </a:xfrm>
          <a:prstGeom prst="rightArrow">
            <a:avLst/>
          </a:prstGeom>
          <a:solidFill>
            <a:srgbClr val="FF00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b="1" dirty="0" smtClean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00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628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088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 smtClean="0">
                <a:solidFill>
                  <a:schemeClr val="bg1"/>
                </a:solidFill>
              </a:rPr>
              <a:t>Risk Appetite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134008"/>
              </p:ext>
            </p:extLst>
          </p:nvPr>
        </p:nvGraphicFramePr>
        <p:xfrm>
          <a:off x="1028699" y="687126"/>
          <a:ext cx="9056447" cy="5297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1748"/>
                <a:gridCol w="854598"/>
                <a:gridCol w="898423"/>
                <a:gridCol w="1211678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liverables/mileston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USA Top-level Risk Appetite Statement (RAS) Design and Approva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 Smith /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op-level RAS Design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6/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8/28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op-level RAS </a:t>
                      </a:r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</a:rPr>
                        <a:t>Processes and Documentation (e.g.</a:t>
                      </a:r>
                      <a:r>
                        <a:rPr lang="en-US" sz="1000" b="0" i="0" u="none" strike="noStrike" baseline="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</a:rPr>
                        <a:t> breach escalation and remediation process – including consequences)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7/6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op-level RAS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pproval process, including Board training on approach and their role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fine cascading approach of Top-level RAS to subsidiaries and belo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 Smith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BNA &amp; SCUSA RAS Design and Approva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/17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 Smith 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9969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BNA &amp; SCUSA RAS Design – follows similar process as SHUSA 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8/1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20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Secure Board approval of RAS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2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/31/2015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mmunicate SHUSA, SBNA, and SCUSA RAS to enterprise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4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S Design and Approval for remaining subsidiaries (NY, Puerto Rico, Miami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NY RAS design and approval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/1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6/30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Puerto Rico RAS design and approval 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/1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6/30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Miami RAS design and approval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/1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6/30/2016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itial embedding of RAS in material SHUSA processes  and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lan for embedding RAS across the enterpris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2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Identify key processes (e.g. strategic planning, capital planning) and update process maps with explicit RAS links 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2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27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Plan implementation of RAS in all material processes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/12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ontinue to cascade the risk appetite statement for the remainder of subsidiaries and business units and ensure alignment with overall SHUSA RA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4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mbed RAS in key processes at lower levels of the organization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/30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4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ontinue to communicate RA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hroughout the enterprise, including training in the new escalation and remediation proces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/30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4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eriodically RAS based on the latest results of material risk identification and improved risk measurement across the enterprise; including incorporation of risk-based capital metric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/3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/30/2017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.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mith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 R. Parris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13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</a:t>
            </a:r>
            <a:r>
              <a:rPr lang="en-GB" dirty="0"/>
              <a:t>2</a:t>
            </a:r>
            <a:r>
              <a:rPr lang="en-GB" dirty="0" smtClean="0"/>
              <a:t>/5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97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98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088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ID &amp; Measurement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76001"/>
              </p:ext>
            </p:extLst>
          </p:nvPr>
        </p:nvGraphicFramePr>
        <p:xfrm>
          <a:off x="1028699" y="687126"/>
          <a:ext cx="9056447" cy="5019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1748"/>
                <a:gridCol w="854598"/>
                <a:gridCol w="898423"/>
                <a:gridCol w="1211678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liverables/mileston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02830"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terial Risk Program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/2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. </a:t>
                      </a:r>
                      <a:r>
                        <a:rPr lang="en-US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llaire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marR="0" lvl="1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am design and approval (risk</a:t>
                      </a:r>
                      <a:r>
                        <a:rPr lang="en-US" sz="1000" b="0" i="0" u="none" strike="noStrike" kern="1200" baseline="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taxonomy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tools, templates, guidanc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/2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5/1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ubsidiary / Business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E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tity Material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isk Program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5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mpile Business Line / Segment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terial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Inventor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5/28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7/31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ubsidiary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 / Business Entity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ggregation Workshops (include 2 LOD challenge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 and Governance (Material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isk Inventory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views / Approvals)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7/1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USA Material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2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eparation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or Aggregation to Create SHUSA Material Risk Inventor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1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USA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ggregation Workshops (include 2 LOD challeng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USA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op Down Aggregation (1st and 2nd LOD executive challeng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0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terial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SHUSA Approval (final aggregation, Board and Management review and challenge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0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3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D and Assessment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olicy – drafting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and approval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2/1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marR="0" lvl="2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–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stablish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clear linkage of MRP outputs to capital planning scenario design process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0/5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1/3/2015</a:t>
                      </a:r>
                      <a:endParaRPr 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view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undational Risk ID Processes and Build Multi-Year Enhancement Objectiv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/18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/28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ssess  Foundational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Processes and ensure complete foundational risk inventory is in pla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/1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1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view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ach Foundational Risk Process, identify deficient processes, and use gap analyses to determine how to optimize process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3/1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fontAlgn="ctr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velop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oundational </a:t>
                      </a:r>
                      <a:r>
                        <a:rPr lang="en-US" sz="10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Process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mediation plan</a:t>
                      </a:r>
                      <a:endParaRPr lang="en-US" sz="1000" b="0" i="0" u="none" strike="noStrike" kern="12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3/1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3/2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Updated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taxonom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2/2015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30/2015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Updated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terial risk inventory template and guidan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/1/2015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/31/2015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raining materials, policies and procedures based on updated Material Risk Program proces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3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dentification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of technology needs, requirements definition and implementation planning to support risk identification</a:t>
                      </a: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/31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velopment and implementation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of planned data and technology solutions (e.g. automated interface for risk inventory template, d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tabase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or foundational inputs and data sources for risk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dentification,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tc.)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15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/15/2016</a:t>
                      </a: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E. Smith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13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</a:t>
            </a:r>
            <a:r>
              <a:rPr lang="en-GB" dirty="0"/>
              <a:t>3</a:t>
            </a:r>
            <a:r>
              <a:rPr lang="en-GB" dirty="0" smtClean="0"/>
              <a:t>/5)</a:t>
            </a:r>
            <a:endParaRPr lang="en-US" dirty="0"/>
          </a:p>
        </p:txBody>
      </p:sp>
      <p:sp>
        <p:nvSpPr>
          <p:cNvPr id="16" name="Freeform 15"/>
          <p:cNvSpPr/>
          <p:nvPr/>
        </p:nvSpPr>
        <p:spPr bwMode="auto">
          <a:xfrm>
            <a:off x="8867650" y="1049364"/>
            <a:ext cx="144000" cy="108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dirty="0" smtClean="0">
              <a:solidFill>
                <a:srgbClr val="707277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860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35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51"/>
            <a:ext cx="806199" cy="47802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Management Processes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346903"/>
              </p:ext>
            </p:extLst>
          </p:nvPr>
        </p:nvGraphicFramePr>
        <p:xfrm>
          <a:off x="1028699" y="687126"/>
          <a:ext cx="9056447" cy="4213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1748"/>
                <a:gridCol w="854598"/>
                <a:gridCol w="898423"/>
                <a:gridCol w="1211678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liverables/mileston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alyze and remediate gaps in liquidity risk management (“LRM”) against IHC requir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BC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M. Aya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iquidity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tress Test Challenge Process Framework-design and approv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/1/2015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/31/2015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M. Aya / M. Lass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 high-level review and revision of wholesale credit process limits and controls and delegation of authority at SCUSA and SBN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1/2016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/31/2016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J. Hennessy / C. </a:t>
                      </a:r>
                      <a:r>
                        <a:rPr lang="en-US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uervo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fontAlgn="ctr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ew Commercial Risk Rating </a:t>
                      </a:r>
                      <a:r>
                        <a:rPr lang="en-US" sz="1000" b="0" i="0" u="none" strike="noStrike" kern="1200" baseline="300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/4/2015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/10/2016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. Spector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atings governance (drafting and approval of risk rating charter and polic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marR="0" lvl="1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FF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ating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 model development and validation (refer to Model Dev. / Model Risk </a:t>
                      </a:r>
                      <a:r>
                        <a:rPr lang="en-US" sz="1000" b="0" i="0" u="none" strike="noStrike" kern="1200" dirty="0" err="1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orkstreams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 UAT / pilot tes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/3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 end-user train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/3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RE initial model implementation / rollou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2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28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marR="0" lvl="1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>
                          <a:srgbClr val="FF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&amp;I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ating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endParaRPr lang="nn-NO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endParaRPr lang="nn-NO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&amp;I model development and validation (refer to Model Dev. / Model Risk </a:t>
                      </a:r>
                      <a:r>
                        <a:rPr lang="en-US" sz="1000" b="0" i="0" u="none" strike="noStrike" kern="1200" dirty="0" err="1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orkstreams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endParaRPr lang="nn-NO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endParaRPr lang="nn-NO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&amp;I UAT / pilot tes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&amp;I end-user train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/27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&amp;I initial model implementation / rollou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/4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/29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ta and technology</a:t>
                      </a: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 end-to-end solution requirements definition (CRE and C&amp;I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model)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/4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/12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T development and implementation (Data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Technology to implement end-to-end solution for CRE and C&amp;I models)</a:t>
                      </a:r>
                      <a:endParaRPr lang="en-US" sz="1000" b="0" i="0" u="none" strike="noStrike" kern="1200" dirty="0" smtClean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/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r">
                        <a:spcAft>
                          <a:spcPts val="100"/>
                        </a:spcAft>
                        <a:buClr>
                          <a:schemeClr val="accent1"/>
                        </a:buClr>
                        <a:buNone/>
                      </a:pPr>
                      <a:r>
                        <a:rPr lang="nn-NO" sz="1000" b="0" i="0" u="none" strike="noStrike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/10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914400" rtl="0" eaLnBrk="1" fontAlgn="ctr" latinLnBrk="0" hangingPunct="1">
                        <a:spcAft>
                          <a:spcPts val="1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nduct gap analyses and launch remediation plans for the management of credit, market and trading, interest rate, and strategic and reputational risk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/1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/30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.</a:t>
                      </a:r>
                      <a:r>
                        <a:rPr lang="en-US" sz="1000" b="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ennessy / E. Smith</a:t>
                      </a:r>
                      <a:endParaRPr lang="en-US" sz="1000" b="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McK 4.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063943"/>
            <a:ext cx="1002246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800" dirty="0" smtClean="0">
                <a:solidFill>
                  <a:srgbClr val="000000"/>
                </a:solidFill>
                <a:latin typeface="Arial"/>
              </a:rPr>
              <a:t>1 – Note: Deliverables / Dates for Commercial Risk Rating activities still in final stages of review and are subject to change.</a:t>
            </a: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15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</a:t>
            </a:r>
            <a:r>
              <a:rPr lang="en-GB" dirty="0"/>
              <a:t>4</a:t>
            </a:r>
            <a:r>
              <a:rPr lang="en-GB" dirty="0" smtClean="0"/>
              <a:t>/5)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 bwMode="auto">
          <a:xfrm>
            <a:off x="8891400" y="906864"/>
            <a:ext cx="144000" cy="108000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 lIns="54000" tIns="18000" rIns="18000" rtlCol="0" anchor="ctr"/>
          <a:lstStyle/>
          <a:p>
            <a:pPr marL="265113" indent="-258763" algn="ctr" defTabSz="952500" eaLnBrk="0" hangingPunct="0">
              <a:lnSpc>
                <a:spcPct val="95000"/>
              </a:lnSpc>
              <a:spcBef>
                <a:spcPts val="500"/>
              </a:spcBef>
              <a:spcAft>
                <a:spcPts val="600"/>
              </a:spcAft>
              <a:buFont typeface="+mj-lt"/>
              <a:buAutoNum type="arabicPeriod"/>
            </a:pPr>
            <a:endParaRPr lang="en-US" sz="900" dirty="0" smtClean="0">
              <a:solidFill>
                <a:srgbClr val="707277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7291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62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1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40903" y="696649"/>
            <a:ext cx="806199" cy="549039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27432" tIns="36576" rIns="36576" bIns="36576" numCol="1" anchor="ctr" anchorCtr="0" compatLnSpc="1">
            <a:prstTxWarp prst="textNoShape">
              <a:avLst/>
            </a:prstTxWarp>
            <a:noAutofit/>
          </a:bodyPr>
          <a:lstStyle>
            <a:lvl1pPr marL="355600" lvl="0" indent="-355600" fontAlgn="base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rgbClr val="000000"/>
                </a:solidFill>
              </a:defRPr>
            </a:lvl1pPr>
            <a:lvl2pPr marL="736600" indent="-201613" fontAlgn="base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rgbClr val="000000"/>
                </a:solidFill>
              </a:defRPr>
            </a:lvl2pPr>
            <a:lvl3pPr marL="1187450" indent="-1968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-"/>
              <a:defRPr sz="1200">
                <a:solidFill>
                  <a:srgbClr val="000000"/>
                </a:solidFill>
              </a:defRPr>
            </a:lvl3pPr>
            <a:lvl4pPr marL="1524000" indent="-14605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»"/>
              <a:defRPr sz="1200"/>
            </a:lvl4pPr>
            <a:lvl5pPr marL="19685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5pPr>
            <a:lvl6pPr marL="24257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6pPr>
            <a:lvl7pPr marL="28829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7pPr>
            <a:lvl8pPr marL="33401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8pPr>
            <a:lvl9pPr marL="3797300" indent="-88900" fontAlgn="base">
              <a:spcBef>
                <a:spcPct val="60000"/>
              </a:spcBef>
              <a:spcAft>
                <a:spcPct val="0"/>
              </a:spcAft>
              <a:buFont typeface="Arial" charset="0"/>
              <a:buChar char="&gt;"/>
              <a:defRPr sz="1200">
                <a:solidFill>
                  <a:srgbClr val="000000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900" b="1" dirty="0">
                <a:solidFill>
                  <a:schemeClr val="bg1"/>
                </a:solidFill>
              </a:rPr>
              <a:t>Risk </a:t>
            </a:r>
            <a:r>
              <a:rPr lang="en-US" sz="900" b="1" dirty="0" smtClean="0">
                <a:solidFill>
                  <a:schemeClr val="bg1"/>
                </a:solidFill>
              </a:rPr>
              <a:t>Monitoring / Risk Reporting</a:t>
            </a:r>
            <a:endParaRPr lang="en-US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306547"/>
              </p:ext>
            </p:extLst>
          </p:nvPr>
        </p:nvGraphicFramePr>
        <p:xfrm>
          <a:off x="1028699" y="687126"/>
          <a:ext cx="9056447" cy="5406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1748"/>
                <a:gridCol w="854598"/>
                <a:gridCol w="898423"/>
                <a:gridCol w="1211678"/>
              </a:tblGrid>
              <a:tr h="200025">
                <a:tc>
                  <a:txBody>
                    <a:bodyPr/>
                    <a:lstStyle/>
                    <a:p>
                      <a:pPr marL="171450" indent="-171450" algn="l" fontAlgn="ctr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eliverables/milestone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tar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Finish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wner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ssess current reporting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landscape and make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ick-win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hancements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o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iority reports (Board and Level 1 Risk Committees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) and reporting protocols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5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17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fine target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sk reporting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andscape and scope of remediation (linked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to committee structure)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27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7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dentify risk aggregation needs and cultivate dedicated resources to manage reporting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31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/29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ave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31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7163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ment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 template reports and socialization of Wave 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8/31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9/2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ll-out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 Wave 1 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por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9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view business and data requirements for both interim and target state of Wave 1 reports and make additions as necessar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9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0/23/2015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dentify and document data gaps and develop remediation plan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9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ilot reports using available data (manual where necessary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9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0/9/2015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llect feedback from key stakeholders and</a:t>
                      </a:r>
                      <a:r>
                        <a:rPr lang="en-US" sz="1000" b="0" i="0" u="none" strike="noStrike" kern="1200" baseline="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refine reports</a:t>
                      </a:r>
                      <a:endParaRPr lang="en-US" sz="1000" b="0" i="0" u="none" strike="noStrike" kern="1200" dirty="0" smtClean="0">
                        <a:solidFill>
                          <a:srgbClr val="707277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0/26/2015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6/2015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5850" lvl="2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Calibri" panose="020F0502020204030204" pitchFamily="34" charset="0"/>
                        <a:buChar char="–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mplement refined reports in-produc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6/2015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9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ave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/5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ment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 template reports and socialization of Wave 2 (based on materiality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0/5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0/30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ll-out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 Wave 2 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ports (similar</a:t>
                      </a:r>
                      <a:r>
                        <a:rPr lang="en-US" sz="1000" b="0" i="0" u="none" strike="noStrike" kern="1200" baseline="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rocess as Wave 1)</a:t>
                      </a:r>
                      <a:endParaRPr lang="en-US" sz="1000" b="0" i="0" u="none" strike="noStrike" kern="1200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1/2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914400" rtl="0" eaLnBrk="1" fontAlgn="ctr" latinLnBrk="0" hangingPunct="1"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ave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 of reporting enhancement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ment of template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ports and socialization of Wave 3 (Remaining Entities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2/28/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1/29/2016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628650" lvl="1" indent="-171450" algn="l" defTabSz="914400" rtl="0" eaLnBrk="1" fontAlgn="ctr" latinLnBrk="0" hangingPunct="1">
                        <a:buClr>
                          <a:srgbClr val="FF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ll- </a:t>
                      </a:r>
                      <a:r>
                        <a:rPr lang="en-US" sz="1000" b="0" i="0" u="none" strike="noStrike" kern="1200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ut of Wave 3 </a:t>
                      </a:r>
                      <a:r>
                        <a:rPr lang="en-US" sz="1000" b="0" i="0" u="none" strike="noStrike" kern="120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ports (similar</a:t>
                      </a:r>
                      <a:r>
                        <a:rPr lang="en-US" sz="1000" b="0" i="0" u="none" strike="noStrike" kern="1200" baseline="0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rocess as Wave 1)</a:t>
                      </a:r>
                      <a:endParaRPr lang="en-US" sz="1000" b="0" i="0" u="none" strike="noStrike" kern="1200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2/1/2016</a:t>
                      </a:r>
                      <a:endParaRPr lang="en-US" sz="1000" b="0" i="0" u="none" strike="noStrike" dirty="0">
                        <a:solidFill>
                          <a:srgbClr val="70727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4/1/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707277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xecution of Remediation Plan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as defined in Roll-out of Enhanced Report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/2/201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velop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nd launch additional waves of reporting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hancements at multiple levels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of granularity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/30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finement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 monitoring documentation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nd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ata requirements/resources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/30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velop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ntrols for additional repor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/30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l" fontAlgn="ctr"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sses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source needs and conduct additional refinements to monitoring requirements 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/1/2016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0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  <a:p>
                      <a:pPr algn="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/31/201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76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. Cout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7931500" y="266025"/>
            <a:ext cx="2153647" cy="430189"/>
            <a:chOff x="7156765" y="71559"/>
            <a:chExt cx="2153647" cy="430189"/>
          </a:xfrm>
        </p:grpSpPr>
        <p:sp>
          <p:nvSpPr>
            <p:cNvPr id="13" name="Rectangle 95"/>
            <p:cNvSpPr txBox="1">
              <a:spLocks/>
            </p:cNvSpPr>
            <p:nvPr/>
          </p:nvSpPr>
          <p:spPr>
            <a:xfrm>
              <a:off x="7164487" y="71559"/>
              <a:ext cx="2145925" cy="399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956861" eaLnBrk="1" hangingPunct="1">
                <a:buClr>
                  <a:schemeClr val="tx2"/>
                </a:buClr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206980" lvl="1" indent="-205284" defTabSz="956861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sz="13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88610" indent="-279933" defTabSz="956861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56570" indent="-166263" defTabSz="956861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801320" indent="-139118" defTabSz="956861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320" indent="-139118" defTabSz="95686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63" lvl="1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GB" sz="900" b="1" dirty="0" smtClean="0">
                  <a:solidFill>
                    <a:srgbClr val="000000"/>
                  </a:solidFill>
                </a:rPr>
                <a:t>Deliverables</a:t>
              </a:r>
            </a:p>
            <a:p>
              <a:pPr marL="182563" lvl="2" indent="-182563">
                <a:spcAft>
                  <a:spcPts val="100"/>
                </a:spcAft>
                <a:buClr>
                  <a:srgbClr val="FF0000"/>
                </a:buClr>
                <a:buSzPct val="150000"/>
              </a:pPr>
              <a:r>
                <a:rPr lang="en-US" sz="900" b="1" dirty="0" smtClean="0">
                  <a:solidFill>
                    <a:srgbClr val="707277"/>
                  </a:solidFill>
                </a:rPr>
                <a:t>Milestones under the deliverable</a:t>
              </a:r>
            </a:p>
            <a:p>
              <a:pPr marL="182563" lvl="2" indent="0">
                <a:spcAft>
                  <a:spcPts val="100"/>
                </a:spcAft>
                <a:buClr>
                  <a:srgbClr val="FF0000"/>
                </a:buClr>
                <a:buFont typeface="Arial" charset="0"/>
                <a:buNone/>
              </a:pPr>
              <a:r>
                <a:rPr lang="en-GB" sz="900" b="1" dirty="0" smtClean="0">
                  <a:solidFill>
                    <a:srgbClr val="707277"/>
                  </a:solidFill>
                </a:rPr>
                <a:t>Completed</a:t>
              </a:r>
              <a:endParaRPr lang="en-US" sz="900" b="1" dirty="0" smtClean="0">
                <a:solidFill>
                  <a:srgbClr val="707277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7156765" y="393748"/>
              <a:ext cx="144000" cy="108000"/>
            </a:xfrm>
            <a:custGeom>
              <a:avLst/>
              <a:gdLst/>
              <a:ahLst/>
              <a:cxnLst/>
              <a:rect l="0" t="0" r="0" b="0"/>
              <a:pathLst>
                <a:path w="429015" h="407000">
                  <a:moveTo>
                    <a:pt x="418148" y="0"/>
                  </a:moveTo>
                  <a:lnTo>
                    <a:pt x="418148" y="0"/>
                  </a:lnTo>
                  <a:lnTo>
                    <a:pt x="429014" y="15381"/>
                  </a:lnTo>
                  <a:lnTo>
                    <a:pt x="429014" y="15381"/>
                  </a:lnTo>
                  <a:lnTo>
                    <a:pt x="420687" y="21873"/>
                  </a:lnTo>
                  <a:lnTo>
                    <a:pt x="412360" y="28647"/>
                  </a:lnTo>
                  <a:lnTo>
                    <a:pt x="403613" y="36127"/>
                  </a:lnTo>
                  <a:lnTo>
                    <a:pt x="395003" y="43606"/>
                  </a:lnTo>
                  <a:lnTo>
                    <a:pt x="386113" y="51791"/>
                  </a:lnTo>
                  <a:lnTo>
                    <a:pt x="377222" y="60400"/>
                  </a:lnTo>
                  <a:lnTo>
                    <a:pt x="368331" y="69291"/>
                  </a:lnTo>
                  <a:lnTo>
                    <a:pt x="359158" y="78605"/>
                  </a:lnTo>
                  <a:lnTo>
                    <a:pt x="349845" y="88483"/>
                  </a:lnTo>
                  <a:lnTo>
                    <a:pt x="340530" y="98644"/>
                  </a:lnTo>
                  <a:lnTo>
                    <a:pt x="331075" y="109369"/>
                  </a:lnTo>
                  <a:lnTo>
                    <a:pt x="321337" y="120376"/>
                  </a:lnTo>
                  <a:lnTo>
                    <a:pt x="311741" y="131808"/>
                  </a:lnTo>
                  <a:lnTo>
                    <a:pt x="301863" y="143663"/>
                  </a:lnTo>
                  <a:lnTo>
                    <a:pt x="291702" y="156083"/>
                  </a:lnTo>
                  <a:lnTo>
                    <a:pt x="281682" y="168783"/>
                  </a:lnTo>
                  <a:lnTo>
                    <a:pt x="281682" y="168783"/>
                  </a:lnTo>
                  <a:lnTo>
                    <a:pt x="271803" y="181625"/>
                  </a:lnTo>
                  <a:lnTo>
                    <a:pt x="262207" y="194326"/>
                  </a:lnTo>
                  <a:lnTo>
                    <a:pt x="252609" y="207168"/>
                  </a:lnTo>
                  <a:lnTo>
                    <a:pt x="243718" y="219588"/>
                  </a:lnTo>
                  <a:lnTo>
                    <a:pt x="234829" y="232147"/>
                  </a:lnTo>
                  <a:lnTo>
                    <a:pt x="226502" y="244566"/>
                  </a:lnTo>
                  <a:lnTo>
                    <a:pt x="218176" y="256703"/>
                  </a:lnTo>
                  <a:lnTo>
                    <a:pt x="210273" y="268840"/>
                  </a:lnTo>
                  <a:lnTo>
                    <a:pt x="202794" y="280976"/>
                  </a:lnTo>
                  <a:lnTo>
                    <a:pt x="195456" y="292971"/>
                  </a:lnTo>
                  <a:lnTo>
                    <a:pt x="188540" y="304685"/>
                  </a:lnTo>
                  <a:lnTo>
                    <a:pt x="181907" y="316398"/>
                  </a:lnTo>
                  <a:lnTo>
                    <a:pt x="175416" y="327969"/>
                  </a:lnTo>
                  <a:lnTo>
                    <a:pt x="169348" y="339401"/>
                  </a:lnTo>
                  <a:lnTo>
                    <a:pt x="163703" y="350832"/>
                  </a:lnTo>
                  <a:lnTo>
                    <a:pt x="158058" y="362263"/>
                  </a:lnTo>
                  <a:lnTo>
                    <a:pt x="135196" y="377645"/>
                  </a:lnTo>
                  <a:lnTo>
                    <a:pt x="135196" y="377645"/>
                  </a:lnTo>
                  <a:lnTo>
                    <a:pt x="122071" y="386817"/>
                  </a:lnTo>
                  <a:lnTo>
                    <a:pt x="111205" y="394862"/>
                  </a:lnTo>
                  <a:lnTo>
                    <a:pt x="102738" y="401495"/>
                  </a:lnTo>
                  <a:lnTo>
                    <a:pt x="99351" y="404600"/>
                  </a:lnTo>
                  <a:lnTo>
                    <a:pt x="96387" y="406999"/>
                  </a:lnTo>
                  <a:lnTo>
                    <a:pt x="96387" y="406999"/>
                  </a:lnTo>
                  <a:lnTo>
                    <a:pt x="95258" y="403048"/>
                  </a:lnTo>
                  <a:lnTo>
                    <a:pt x="93988" y="398673"/>
                  </a:lnTo>
                  <a:lnTo>
                    <a:pt x="90178" y="387806"/>
                  </a:lnTo>
                  <a:lnTo>
                    <a:pt x="85096" y="374682"/>
                  </a:lnTo>
                  <a:lnTo>
                    <a:pt x="79028" y="359299"/>
                  </a:lnTo>
                  <a:lnTo>
                    <a:pt x="70279" y="339260"/>
                  </a:lnTo>
                  <a:lnTo>
                    <a:pt x="70279" y="339260"/>
                  </a:lnTo>
                  <a:lnTo>
                    <a:pt x="65622" y="328816"/>
                  </a:lnTo>
                  <a:lnTo>
                    <a:pt x="61106" y="319079"/>
                  </a:lnTo>
                  <a:lnTo>
                    <a:pt x="56590" y="310047"/>
                  </a:lnTo>
                  <a:lnTo>
                    <a:pt x="52357" y="301580"/>
                  </a:lnTo>
                  <a:lnTo>
                    <a:pt x="47982" y="294100"/>
                  </a:lnTo>
                  <a:lnTo>
                    <a:pt x="43889" y="287044"/>
                  </a:lnTo>
                  <a:lnTo>
                    <a:pt x="39656" y="280976"/>
                  </a:lnTo>
                  <a:lnTo>
                    <a:pt x="35704" y="275190"/>
                  </a:lnTo>
                  <a:lnTo>
                    <a:pt x="35704" y="275190"/>
                  </a:lnTo>
                  <a:lnTo>
                    <a:pt x="31753" y="270250"/>
                  </a:lnTo>
                  <a:lnTo>
                    <a:pt x="27518" y="266018"/>
                  </a:lnTo>
                  <a:lnTo>
                    <a:pt x="23144" y="261783"/>
                  </a:lnTo>
                  <a:lnTo>
                    <a:pt x="18769" y="258114"/>
                  </a:lnTo>
                  <a:lnTo>
                    <a:pt x="14253" y="255009"/>
                  </a:lnTo>
                  <a:lnTo>
                    <a:pt x="9737" y="252045"/>
                  </a:lnTo>
                  <a:lnTo>
                    <a:pt x="4939" y="249787"/>
                  </a:lnTo>
                  <a:lnTo>
                    <a:pt x="0" y="247953"/>
                  </a:lnTo>
                  <a:lnTo>
                    <a:pt x="0" y="247953"/>
                  </a:lnTo>
                  <a:lnTo>
                    <a:pt x="4234" y="243578"/>
                  </a:lnTo>
                  <a:lnTo>
                    <a:pt x="8326" y="239627"/>
                  </a:lnTo>
                  <a:lnTo>
                    <a:pt x="12279" y="235957"/>
                  </a:lnTo>
                  <a:lnTo>
                    <a:pt x="16370" y="232288"/>
                  </a:lnTo>
                  <a:lnTo>
                    <a:pt x="20322" y="229325"/>
                  </a:lnTo>
                  <a:lnTo>
                    <a:pt x="24273" y="226502"/>
                  </a:lnTo>
                  <a:lnTo>
                    <a:pt x="28084" y="223821"/>
                  </a:lnTo>
                  <a:lnTo>
                    <a:pt x="32034" y="221281"/>
                  </a:lnTo>
                  <a:lnTo>
                    <a:pt x="35845" y="219445"/>
                  </a:lnTo>
                  <a:lnTo>
                    <a:pt x="39656" y="217611"/>
                  </a:lnTo>
                  <a:lnTo>
                    <a:pt x="43325" y="216060"/>
                  </a:lnTo>
                  <a:lnTo>
                    <a:pt x="46853" y="214931"/>
                  </a:lnTo>
                  <a:lnTo>
                    <a:pt x="50663" y="213942"/>
                  </a:lnTo>
                  <a:lnTo>
                    <a:pt x="54332" y="213238"/>
                  </a:lnTo>
                  <a:lnTo>
                    <a:pt x="57719" y="212813"/>
                  </a:lnTo>
                  <a:lnTo>
                    <a:pt x="61247" y="212672"/>
                  </a:lnTo>
                  <a:lnTo>
                    <a:pt x="61247" y="212672"/>
                  </a:lnTo>
                  <a:lnTo>
                    <a:pt x="62659" y="212672"/>
                  </a:lnTo>
                  <a:lnTo>
                    <a:pt x="64212" y="212813"/>
                  </a:lnTo>
                  <a:lnTo>
                    <a:pt x="65622" y="213238"/>
                  </a:lnTo>
                  <a:lnTo>
                    <a:pt x="67176" y="213520"/>
                  </a:lnTo>
                  <a:lnTo>
                    <a:pt x="70420" y="214931"/>
                  </a:lnTo>
                  <a:lnTo>
                    <a:pt x="73526" y="216624"/>
                  </a:lnTo>
                  <a:lnTo>
                    <a:pt x="76631" y="218882"/>
                  </a:lnTo>
                  <a:lnTo>
                    <a:pt x="79876" y="221703"/>
                  </a:lnTo>
                  <a:lnTo>
                    <a:pt x="83120" y="224950"/>
                  </a:lnTo>
                  <a:lnTo>
                    <a:pt x="86368" y="228760"/>
                  </a:lnTo>
                  <a:lnTo>
                    <a:pt x="89754" y="233135"/>
                  </a:lnTo>
                  <a:lnTo>
                    <a:pt x="93000" y="237792"/>
                  </a:lnTo>
                  <a:lnTo>
                    <a:pt x="96387" y="243155"/>
                  </a:lnTo>
                  <a:lnTo>
                    <a:pt x="99915" y="248800"/>
                  </a:lnTo>
                  <a:lnTo>
                    <a:pt x="103443" y="255291"/>
                  </a:lnTo>
                  <a:lnTo>
                    <a:pt x="106830" y="262206"/>
                  </a:lnTo>
                  <a:lnTo>
                    <a:pt x="110499" y="269405"/>
                  </a:lnTo>
                  <a:lnTo>
                    <a:pt x="114027" y="277164"/>
                  </a:lnTo>
                  <a:lnTo>
                    <a:pt x="123765" y="298757"/>
                  </a:lnTo>
                  <a:lnTo>
                    <a:pt x="123765" y="298757"/>
                  </a:lnTo>
                  <a:lnTo>
                    <a:pt x="130397" y="287750"/>
                  </a:lnTo>
                  <a:lnTo>
                    <a:pt x="137313" y="277025"/>
                  </a:lnTo>
                  <a:lnTo>
                    <a:pt x="144510" y="266018"/>
                  </a:lnTo>
                  <a:lnTo>
                    <a:pt x="151707" y="255150"/>
                  </a:lnTo>
                  <a:lnTo>
                    <a:pt x="159328" y="244284"/>
                  </a:lnTo>
                  <a:lnTo>
                    <a:pt x="167090" y="233558"/>
                  </a:lnTo>
                  <a:lnTo>
                    <a:pt x="175275" y="222692"/>
                  </a:lnTo>
                  <a:lnTo>
                    <a:pt x="183319" y="212109"/>
                  </a:lnTo>
                  <a:lnTo>
                    <a:pt x="191928" y="201382"/>
                  </a:lnTo>
                  <a:lnTo>
                    <a:pt x="200676" y="190657"/>
                  </a:lnTo>
                  <a:lnTo>
                    <a:pt x="209568" y="180214"/>
                  </a:lnTo>
                  <a:lnTo>
                    <a:pt x="218882" y="169487"/>
                  </a:lnTo>
                  <a:lnTo>
                    <a:pt x="228337" y="159045"/>
                  </a:lnTo>
                  <a:lnTo>
                    <a:pt x="237792" y="148461"/>
                  </a:lnTo>
                  <a:lnTo>
                    <a:pt x="247952" y="138018"/>
                  </a:lnTo>
                  <a:lnTo>
                    <a:pt x="257973" y="127575"/>
                  </a:lnTo>
                  <a:lnTo>
                    <a:pt x="257973" y="127575"/>
                  </a:lnTo>
                  <a:lnTo>
                    <a:pt x="268275" y="117273"/>
                  </a:lnTo>
                  <a:lnTo>
                    <a:pt x="278436" y="107395"/>
                  </a:lnTo>
                  <a:lnTo>
                    <a:pt x="288597" y="97798"/>
                  </a:lnTo>
                  <a:lnTo>
                    <a:pt x="298757" y="88483"/>
                  </a:lnTo>
                  <a:lnTo>
                    <a:pt x="308918" y="79593"/>
                  </a:lnTo>
                  <a:lnTo>
                    <a:pt x="318938" y="70843"/>
                  </a:lnTo>
                  <a:lnTo>
                    <a:pt x="328958" y="62235"/>
                  </a:lnTo>
                  <a:lnTo>
                    <a:pt x="338979" y="54050"/>
                  </a:lnTo>
                  <a:lnTo>
                    <a:pt x="349138" y="46287"/>
                  </a:lnTo>
                  <a:lnTo>
                    <a:pt x="359016" y="38667"/>
                  </a:lnTo>
                  <a:lnTo>
                    <a:pt x="368896" y="31470"/>
                  </a:lnTo>
                  <a:lnTo>
                    <a:pt x="378915" y="24696"/>
                  </a:lnTo>
                  <a:lnTo>
                    <a:pt x="388794" y="18063"/>
                  </a:lnTo>
                  <a:lnTo>
                    <a:pt x="398673" y="11712"/>
                  </a:lnTo>
                  <a:lnTo>
                    <a:pt x="408268" y="5643"/>
                  </a:lnTo>
                  <a:lnTo>
                    <a:pt x="418148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  <a:extLst/>
          </p:spPr>
          <p:txBody>
            <a:bodyPr lIns="54000" tIns="18000" rIns="18000" rtlCol="0" anchor="ctr"/>
            <a:lstStyle/>
            <a:p>
              <a:pPr marL="265113" indent="-258763" algn="ctr" defTabSz="952500" eaLnBrk="0" hangingPunct="0">
                <a:lnSpc>
                  <a:spcPct val="95000"/>
                </a:lnSpc>
                <a:spcBef>
                  <a:spcPts val="500"/>
                </a:spcBef>
                <a:spcAft>
                  <a:spcPts val="600"/>
                </a:spcAft>
                <a:buFont typeface="+mj-lt"/>
                <a:buAutoNum type="arabicPeriod"/>
              </a:pPr>
              <a:endParaRPr lang="en-US" sz="900" dirty="0" smtClean="0">
                <a:solidFill>
                  <a:srgbClr val="707277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82575" y="260354"/>
            <a:ext cx="9491663" cy="396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Risk Transformation: Project Plan </a:t>
            </a:r>
            <a:r>
              <a:rPr lang="en-GB" dirty="0" smtClean="0"/>
              <a:t>(</a:t>
            </a:r>
            <a:r>
              <a:rPr lang="en-GB" dirty="0"/>
              <a:t>5</a:t>
            </a:r>
            <a:r>
              <a:rPr lang="en-GB" dirty="0" smtClean="0"/>
              <a:t>/5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33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1&quot;&gt;&lt;elem m_fUsage=&quot;1.00000000000000000000E+000&quot;&gt;&lt;m_msothmcolidx val=&quot;0&quot;/&gt;&lt;m_rgb r=&quot;ff&quot; g=&quot;82&quot; b=&quot;8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5"/>
  <p:tag name="ISNEWSLIDENUMBER" val="True"/>
  <p:tag name="PREVIOUSNAME" val="C:\Users\Cynthia Wu\Nomadesk\HCS-CART-2015\CART Central Team\Project Plans\One pagers\Model Dev, MRM, Risk and Ops Risk Plans 20150624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heme/theme1.xml><?xml version="1.0" encoding="utf-8"?>
<a:theme xmlns:a="http://schemas.openxmlformats.org/drawingml/2006/main" name="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bg2"/>
          </a:solidFill>
          <a:prstDash val="dash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407988" algn="l"/>
            <a:tab pos="6323013" algn="l"/>
          </a:tabLst>
          <a:defRPr kumimoji="0" lang="es-E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Santander_CF_HCS028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DCDC"/>
      </a:accent1>
      <a:accent2>
        <a:srgbClr val="B2B2B2"/>
      </a:accent2>
      <a:accent3>
        <a:srgbClr val="6E6E6E"/>
      </a:accent3>
      <a:accent4>
        <a:srgbClr val="FF0000"/>
      </a:accent4>
      <a:accent5>
        <a:srgbClr val="770000"/>
      </a:accent5>
      <a:accent6>
        <a:srgbClr val="808080"/>
      </a:accent6>
      <a:hlink>
        <a:srgbClr val="6E6E6E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CDCDC"/>
        </a:accent1>
        <a:accent2>
          <a:srgbClr val="B2B2B2"/>
        </a:accent2>
        <a:accent3>
          <a:srgbClr val="6E6E6E"/>
        </a:accent3>
        <a:accent4>
          <a:srgbClr val="FF0000"/>
        </a:accent4>
        <a:accent5>
          <a:srgbClr val="770000"/>
        </a:accent5>
        <a:accent6>
          <a:srgbClr val="808080"/>
        </a:accent6>
        <a:hlink>
          <a:srgbClr val="6E6E6E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Santander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000000"/>
      </a:hlink>
      <a:folHlink>
        <a:srgbClr val="292929"/>
      </a:folHlink>
    </a:clrScheme>
    <a:fontScheme name="1_SovSan_Template_US">
      <a:majorFont>
        <a:latin typeface="Arial Bold"/>
        <a:ea typeface="ＭＳ Ｐゴシック"/>
        <a:cs typeface="ＭＳ Ｐゴシック"/>
      </a:majorFont>
      <a:minorFont>
        <a:latin typeface="Arial Bold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ovSan_Template_US 2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ovSan_Template_US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6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7 Storyboard 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antander Teme">
  <a:themeElements>
    <a:clrScheme name="SovSan_Template_U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C0C0C0"/>
      </a:accent2>
      <a:accent3>
        <a:srgbClr val="FFFFFF"/>
      </a:accent3>
      <a:accent4>
        <a:srgbClr val="000000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Custom 3">
      <a:majorFont>
        <a:latin typeface="Arial Bold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vSan_Template_U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777777"/>
        </a:hlink>
        <a:folHlink>
          <a:srgbClr val="29292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vSan_Template_US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AEAEAE"/>
        </a:accent6>
        <a:hlink>
          <a:srgbClr val="96969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Santander_CUF_HCS218">
  <a:themeElements>
    <a:clrScheme name="">
      <a:dk1>
        <a:srgbClr val="000000"/>
      </a:dk1>
      <a:lt1>
        <a:srgbClr val="FFFFFF"/>
      </a:lt1>
      <a:dk2>
        <a:srgbClr val="707277"/>
      </a:dk2>
      <a:lt2>
        <a:srgbClr val="929497"/>
      </a:lt2>
      <a:accent1>
        <a:srgbClr val="FF0000"/>
      </a:accent1>
      <a:accent2>
        <a:srgbClr val="DDDDDD"/>
      </a:accent2>
      <a:accent3>
        <a:srgbClr val="000000"/>
      </a:accent3>
      <a:accent4>
        <a:srgbClr val="000000"/>
      </a:accent4>
      <a:accent5>
        <a:srgbClr val="FF6600"/>
      </a:accent5>
      <a:accent6>
        <a:srgbClr val="808080"/>
      </a:accent6>
      <a:hlink>
        <a:srgbClr val="000000"/>
      </a:hlink>
      <a:folHlink>
        <a:srgbClr val="000000"/>
      </a:folHlink>
    </a:clrScheme>
    <a:fontScheme name="14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CF9B6"/>
        </a:solidFill>
        <a:ln w="12700">
          <a:solidFill>
            <a:schemeClr val="tx1"/>
          </a:solidFill>
          <a:miter lim="800000"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lIns="54000" tIns="18000" rIns="18000" anchor="ctr"/>
      <a:lstStyle>
        <a:defPPr marL="265113" indent="-258763" defTabSz="952500" eaLnBrk="0" hangingPunct="0">
          <a:lnSpc>
            <a:spcPct val="95000"/>
          </a:lnSpc>
          <a:spcBef>
            <a:spcPts val="500"/>
          </a:spcBef>
          <a:spcAft>
            <a:spcPts val="600"/>
          </a:spcAft>
          <a:buFont typeface="+mj-lt"/>
          <a:buAutoNum type="arabicPeriod"/>
          <a:defRPr b="1" dirty="0" smtClean="0">
            <a:solidFill>
              <a:srgbClr val="000000"/>
            </a:solidFill>
            <a:effectLst>
              <a:outerShdw blurRad="38100" dist="38100" dir="2700000" algn="tl">
                <a:srgbClr val="FFFFFF"/>
              </a:outerShdw>
            </a:effectLst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" tIns="45720" rIns="18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009999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CC3300"/>
        </a:accent3>
        <a:accent4>
          <a:srgbClr val="996600"/>
        </a:accent4>
        <a:accent5>
          <a:srgbClr val="FF6600"/>
        </a:accent5>
        <a:accent6>
          <a:srgbClr val="808080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3333CC"/>
        </a:accent3>
        <a:accent4>
          <a:srgbClr val="AF67FF"/>
        </a:accent4>
        <a:accent5>
          <a:srgbClr val="FF6600"/>
        </a:accent5>
        <a:accent6>
          <a:srgbClr val="80808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0066CC"/>
        </a:accent3>
        <a:accent4>
          <a:srgbClr val="00A80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5050"/>
        </a:accent3>
        <a:accent4>
          <a:srgbClr val="FF9900"/>
        </a:accent4>
        <a:accent5>
          <a:srgbClr val="FF6600"/>
        </a:accent5>
        <a:accent6>
          <a:srgbClr val="808080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00FFFF"/>
        </a:accent3>
        <a:accent4>
          <a:srgbClr val="00FF00"/>
        </a:accent4>
        <a:accent5>
          <a:srgbClr val="FF6600"/>
        </a:accent5>
        <a:accent6>
          <a:srgbClr val="808080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FFFF99"/>
        </a:accent3>
        <a:accent4>
          <a:srgbClr val="D3A219"/>
        </a:accent4>
        <a:accent5>
          <a:srgbClr val="FF6600"/>
        </a:accent5>
        <a:accent6>
          <a:srgbClr val="808080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66CCFF"/>
        </a:accent3>
        <a:accent4>
          <a:srgbClr val="FFE701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66CCFF"/>
        </a:accent3>
        <a:accent4>
          <a:srgbClr val="F0E500"/>
        </a:accent4>
        <a:accent5>
          <a:srgbClr val="FF6600"/>
        </a:accent5>
        <a:accent6>
          <a:srgbClr val="808080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FFCC66"/>
        </a:accent3>
        <a:accent4>
          <a:srgbClr val="E9DCB9"/>
        </a:accent4>
        <a:accent5>
          <a:srgbClr val="FF6600"/>
        </a:accent5>
        <a:accent6>
          <a:srgbClr val="808080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99CCFF"/>
        </a:accent3>
        <a:accent4>
          <a:srgbClr val="FFFF99"/>
        </a:accent4>
        <a:accent5>
          <a:srgbClr val="FF6600"/>
        </a:accent5>
        <a:accent6>
          <a:srgbClr val="808080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CCB400"/>
        </a:accent3>
        <a:accent4>
          <a:srgbClr val="8C9EA0"/>
        </a:accent4>
        <a:accent5>
          <a:srgbClr val="FF6600"/>
        </a:accent5>
        <a:accent6>
          <a:srgbClr val="808080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4">
        <a:dk1>
          <a:srgbClr val="000000"/>
        </a:dk1>
        <a:lt1>
          <a:srgbClr val="FFFFFF"/>
        </a:lt1>
        <a:dk2>
          <a:srgbClr val="7A6C7A"/>
        </a:dk2>
        <a:lt2>
          <a:srgbClr val="808080"/>
        </a:lt2>
        <a:accent1>
          <a:srgbClr val="FF0000"/>
        </a:accent1>
        <a:accent2>
          <a:srgbClr val="DDDDDD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5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EAEAEA"/>
        </a:accent2>
        <a:accent3>
          <a:srgbClr val="C0C0C0"/>
        </a:accent3>
        <a:accent4>
          <a:srgbClr val="99CC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1 16">
        <a:dk1>
          <a:srgbClr val="000000"/>
        </a:dk1>
        <a:lt1>
          <a:srgbClr val="FFFFFF"/>
        </a:lt1>
        <a:dk2>
          <a:srgbClr val="7A6C7A"/>
        </a:dk2>
        <a:lt2>
          <a:srgbClr val="DDDDDD"/>
        </a:lt2>
        <a:accent1>
          <a:srgbClr val="FF0000"/>
        </a:accent1>
        <a:accent2>
          <a:srgbClr val="B2B2B2"/>
        </a:accent2>
        <a:accent3>
          <a:srgbClr val="C0C0C0"/>
        </a:accent3>
        <a:accent4>
          <a:srgbClr val="CC0000"/>
        </a:accent4>
        <a:accent5>
          <a:srgbClr val="FF6600"/>
        </a:accent5>
        <a:accent6>
          <a:srgbClr val="80808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0000"/>
      </a:dk2>
      <a:lt2>
        <a:srgbClr val="FFFFFF"/>
      </a:lt2>
      <a:accent1>
        <a:srgbClr val="262626"/>
      </a:accent1>
      <a:accent2>
        <a:srgbClr val="3F3F3F"/>
      </a:accent2>
      <a:accent3>
        <a:srgbClr val="7F7F7F"/>
      </a:accent3>
      <a:accent4>
        <a:srgbClr val="7F7F7F"/>
      </a:accent4>
      <a:accent5>
        <a:srgbClr val="FFFFFF"/>
      </a:accent5>
      <a:accent6>
        <a:srgbClr val="FF6566"/>
      </a:accent6>
      <a:hlink>
        <a:srgbClr val="FF0000"/>
      </a:hlink>
      <a:folHlink>
        <a:srgbClr val="BF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grpFill/>
        <a:ln w="9525">
          <a:noFill/>
          <a:miter lim="800000"/>
          <a:headEnd/>
          <a:tailEnd/>
        </a:ln>
        <a:effectLst>
          <a:prstShdw prst="shdw18" dist="17961" dir="13500000">
            <a:schemeClr val="accent1">
              <a:gamma/>
              <a:shade val="60000"/>
              <a:invGamma/>
            </a:schemeClr>
          </a:prstShdw>
        </a:effectLst>
      </a:spPr>
      <a:bodyPr wrap="none" anchor="ctr">
        <a:noAutofit/>
      </a:bodyPr>
      <a:lstStyle>
        <a:defPPr>
          <a:defRPr dirty="0" smtClean="0">
            <a:solidFill>
              <a:schemeClr val="bg1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ntander_CUF_HCS218</Template>
  <TotalTime>0</TotalTime>
  <Words>2195</Words>
  <Application>Microsoft Office PowerPoint</Application>
  <PresentationFormat>35mm Slides</PresentationFormat>
  <Paragraphs>588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8" baseType="lpstr">
      <vt:lpstr>Santander_CUF_HCS218</vt:lpstr>
      <vt:lpstr>1_Santander_CUF_HCS218</vt:lpstr>
      <vt:lpstr>7 Storyboard Report</vt:lpstr>
      <vt:lpstr>1_7 Storyboard Report</vt:lpstr>
      <vt:lpstr>2_7 Storyboard Report</vt:lpstr>
      <vt:lpstr>2_Santander_CUF_HCS218</vt:lpstr>
      <vt:lpstr>Santander Teme</vt:lpstr>
      <vt:lpstr>3_Santander_CUF_HCS218</vt:lpstr>
      <vt:lpstr>1_Custom Design</vt:lpstr>
      <vt:lpstr>1_Santander Teme</vt:lpstr>
      <vt:lpstr>Diseño personalizado</vt:lpstr>
      <vt:lpstr>5_Santander_CUF_HCS218</vt:lpstr>
      <vt:lpstr>1_Diseño personalizado</vt:lpstr>
      <vt:lpstr>Santander_CF_HCS028</vt:lpstr>
      <vt:lpstr>1_Santander_CF_HCS028</vt:lpstr>
      <vt:lpstr>2_Santander_CF_HCS028</vt:lpstr>
      <vt:lpstr>3_Santander_CF_HCS028</vt:lpstr>
      <vt:lpstr>2_Santander Teme</vt:lpstr>
      <vt:lpstr>Santander</vt:lpstr>
      <vt:lpstr>4_Santander_CUF_HCS218</vt:lpstr>
      <vt:lpstr>6_Santander_CUF_HCS218</vt:lpstr>
      <vt:lpstr>think-cell Slide</vt:lpstr>
      <vt:lpstr>Risk Transformation - Summary</vt:lpstr>
      <vt:lpstr>Risk Transformation: Project Plan (1/5)</vt:lpstr>
      <vt:lpstr>Risk Transformation: Project Plan (2/5)</vt:lpstr>
      <vt:lpstr>Risk Transformation: Project Plan (3/5)</vt:lpstr>
      <vt:lpstr>Risk Transformation: Project Plan (4/5)</vt:lpstr>
      <vt:lpstr>Risk Transformation: Project Plan (5/5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09T13:15:44Z</dcterms:created>
  <dcterms:modified xsi:type="dcterms:W3CDTF">2015-07-08T22:3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